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3"/>
  </p:notesMasterIdLst>
  <p:handoutMasterIdLst>
    <p:handoutMasterId r:id="rId34"/>
  </p:handoutMasterIdLst>
  <p:sldIdLst>
    <p:sldId id="257" r:id="rId2"/>
    <p:sldId id="259" r:id="rId3"/>
    <p:sldId id="260" r:id="rId4"/>
    <p:sldId id="261" r:id="rId5"/>
    <p:sldId id="262" r:id="rId6"/>
    <p:sldId id="263"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 id="286" r:id="rId30"/>
    <p:sldId id="287" r:id="rId31"/>
    <p:sldId id="288" r:id="rId32"/>
  </p:sldIdLst>
  <p:sldSz cx="9144000" cy="5143500" type="screen16x9"/>
  <p:notesSz cx="6858000" cy="9144000"/>
  <p:custDataLst>
    <p:tags r:id="rId35"/>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p:cViewPr>
        <p:scale>
          <a:sx n="77" d="100"/>
          <a:sy n="77" d="100"/>
        </p:scale>
        <p:origin x="-102" y="-1590"/>
      </p:cViewPr>
      <p:guideLst>
        <p:guide orient="horz" pos="1620"/>
        <p:guide pos="2880"/>
      </p:guideLst>
    </p:cSldViewPr>
  </p:slideViewPr>
  <p:notesTextViewPr>
    <p:cViewPr>
      <p:scale>
        <a:sx n="100" d="100"/>
        <a:sy n="100" d="100"/>
      </p:scale>
      <p:origin x="0" y="0"/>
    </p:cViewPr>
  </p:notesTextViewPr>
  <p:sorterViewPr>
    <p:cViewPr>
      <p:scale>
        <a:sx n="186" d="100"/>
        <a:sy n="18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3-01-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A6B80C-1D83-4D1B-8DE0-2CF3D56B05E1}" type="datetimeFigureOut">
              <a:rPr lang="zh-CN" altLang="en-US" smtClean="0"/>
              <a:t>2023-01-10</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A6B9B0D-7201-4AF1-9D1E-B8432305335E}"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C2617A2F-2521-4E65-ACC0-B2BDB03DC3F5}" type="slidenum">
              <a:rPr lang="zh-CN" altLang="en-US" smtClean="0"/>
              <a:t>2</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1</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2</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3</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4</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5</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6</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7</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8</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9</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0</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21D0F05-A8D5-4196-AE60-2821BAFA6E59}" type="slidenum">
              <a:rPr lang="zh-CN" altLang="en-US" smtClean="0"/>
              <a:t>3</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1</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2</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3</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4</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5</a:t>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6</a:t>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7</a:t>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8</a:t>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29</a:t>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30</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4</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064E76D-C849-4B18-97E2-588F844A9878}" type="slidenum">
              <a:rPr lang="zh-CN" altLang="en-US" smtClean="0"/>
              <a:t>31</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5</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6</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973AAD-64D0-46B8-A546-AB1CAFF49CB3}" type="slidenum">
              <a:rPr lang="zh-CN" altLang="en-US" smtClean="0"/>
              <a:t>7</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973AAD-64D0-46B8-A546-AB1CAFF49CB3}" type="slidenum">
              <a:rPr lang="zh-CN" altLang="en-US" smtClean="0"/>
              <a:t>8</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973AAD-64D0-46B8-A546-AB1CAFF49CB3}" type="slidenum">
              <a:rPr lang="zh-CN" altLang="en-US" smtClean="0"/>
              <a:t>9</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26462657-2903-4ECB-9460-77CF3C8076DA}" type="slidenum">
              <a:rPr lang="zh-CN" altLang="en-US" smtClean="0"/>
              <a:t>10</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pic>
        <p:nvPicPr>
          <p:cNvPr id="3" name="图片 2"/>
          <p:cNvPicPr>
            <a:picLocks noChangeAspect="1"/>
          </p:cNvPicPr>
          <p:nvPr userDrawn="1"/>
        </p:nvPicPr>
        <p:blipFill rotWithShape="1">
          <a:blip r:embed="rId2" cstate="screen"/>
          <a:srcRect/>
          <a:stretch>
            <a:fillRect/>
          </a:stretch>
        </p:blipFill>
        <p:spPr>
          <a:xfrm>
            <a:off x="0" y="0"/>
            <a:ext cx="9144000" cy="3700381"/>
          </a:xfrm>
          <a:prstGeom prst="rect">
            <a:avLst/>
          </a:prstGeom>
        </p:spPr>
      </p:pic>
      <p:grpSp>
        <p:nvGrpSpPr>
          <p:cNvPr id="4" name="组合 3"/>
          <p:cNvGrpSpPr/>
          <p:nvPr userDrawn="1"/>
        </p:nvGrpSpPr>
        <p:grpSpPr>
          <a:xfrm>
            <a:off x="0" y="5036820"/>
            <a:ext cx="9144000" cy="127218"/>
            <a:chOff x="0" y="4951225"/>
            <a:chExt cx="9144000" cy="192275"/>
          </a:xfrm>
        </p:grpSpPr>
        <p:sp>
          <p:nvSpPr>
            <p:cNvPr id="5" name="矩形 4"/>
            <p:cNvSpPr/>
            <p:nvPr/>
          </p:nvSpPr>
          <p:spPr>
            <a:xfrm>
              <a:off x="5615314" y="4951225"/>
              <a:ext cx="3528686" cy="1922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1597"/>
            <p:cNvSpPr/>
            <p:nvPr/>
          </p:nvSpPr>
          <p:spPr>
            <a:xfrm>
              <a:off x="0" y="4951225"/>
              <a:ext cx="6154620" cy="192275"/>
            </a:xfrm>
            <a:custGeom>
              <a:avLst/>
              <a:gdLst/>
              <a:ahLst/>
              <a:cxnLst/>
              <a:rect l="l" t="t" r="r" b="b"/>
              <a:pathLst>
                <a:path w="6154620" h="192275">
                  <a:moveTo>
                    <a:pt x="0" y="0"/>
                  </a:moveTo>
                  <a:lnTo>
                    <a:pt x="5935941" y="0"/>
                  </a:lnTo>
                  <a:lnTo>
                    <a:pt x="6154620" y="192275"/>
                  </a:lnTo>
                  <a:lnTo>
                    <a:pt x="0" y="192275"/>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标题 1"/>
          <p:cNvSpPr>
            <a:spLocks noGrp="1"/>
          </p:cNvSpPr>
          <p:nvPr>
            <p:ph type="title"/>
          </p:nvPr>
        </p:nvSpPr>
        <p:spPr>
          <a:xfrm>
            <a:off x="1331640" y="269911"/>
            <a:ext cx="4248472" cy="429631"/>
          </a:xfrm>
          <a:prstGeom prst="rect">
            <a:avLst/>
          </a:prstGeom>
        </p:spPr>
        <p:txBody>
          <a:bodyPr/>
          <a:lstStyle>
            <a:lvl1pPr algn="l">
              <a:defRPr sz="2200" b="1">
                <a:solidFill>
                  <a:schemeClr val="tx1">
                    <a:lumMod val="75000"/>
                    <a:lumOff val="25000"/>
                  </a:schemeClr>
                </a:solidFill>
              </a:defRPr>
            </a:lvl1pPr>
          </a:lstStyle>
          <a:p>
            <a:r>
              <a:rPr lang="zh-CN" altLang="en-US" dirty="0"/>
              <a:t>单击此处编辑母版标题样式</a:t>
            </a:r>
          </a:p>
        </p:txBody>
      </p:sp>
      <p:pic>
        <p:nvPicPr>
          <p:cNvPr id="2050" name="Picture 2" descr="C:\Users\MDG\Desktop\532a3884ebf99.png"/>
          <p:cNvPicPr>
            <a:picLocks noChangeAspect="1" noChangeArrowheads="1"/>
          </p:cNvPicPr>
          <p:nvPr userDrawn="1"/>
        </p:nvPicPr>
        <p:blipFill>
          <a:blip r:embed="rId3" cstate="screen"/>
          <a:srcRect/>
          <a:stretch>
            <a:fillRect/>
          </a:stretch>
        </p:blipFill>
        <p:spPr bwMode="auto">
          <a:xfrm>
            <a:off x="323528" y="274321"/>
            <a:ext cx="1019942" cy="48232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050"/>
                                        </p:tgtEl>
                                        <p:attrNameLst>
                                          <p:attrName>style.visibility</p:attrName>
                                        </p:attrNameLst>
                                      </p:cBhvr>
                                      <p:to>
                                        <p:strVal val="visible"/>
                                      </p:to>
                                    </p:set>
                                    <p:anim calcmode="lin" valueType="num">
                                      <p:cBhvr additive="base">
                                        <p:cTn id="7" dur="500" fill="hold"/>
                                        <p:tgtEl>
                                          <p:spTgt spid="2050"/>
                                        </p:tgtEl>
                                        <p:attrNameLst>
                                          <p:attrName>ppt_x</p:attrName>
                                        </p:attrNameLst>
                                      </p:cBhvr>
                                      <p:tavLst>
                                        <p:tav tm="0">
                                          <p:val>
                                            <p:strVal val="0-#ppt_w/2"/>
                                          </p:val>
                                        </p:tav>
                                        <p:tav tm="100000">
                                          <p:val>
                                            <p:strVal val="#ppt_x"/>
                                          </p:val>
                                        </p:tav>
                                      </p:tavLst>
                                    </p:anim>
                                    <p:anim calcmode="lin" valueType="num">
                                      <p:cBhvr additive="base">
                                        <p:cTn id="8" dur="500" fill="hold"/>
                                        <p:tgtEl>
                                          <p:spTgt spid="205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left)">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空白">
    <p:bg>
      <p:bgPr>
        <a:blipFill rotWithShape="1">
          <a:blip r:embed="rId2"/>
          <a:stretch>
            <a:fillRect/>
          </a:stretch>
        </a:blip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6375"/>
            <a:ext cx="8229600" cy="857250"/>
          </a:xfrm>
          <a:prstGeom prst="rect">
            <a:avLst/>
          </a:prstGeom>
        </p:spPr>
        <p:txBody>
          <a:bodyPr/>
          <a:lstStyle/>
          <a:p>
            <a:r>
              <a:rPr lang="zh-CN" altLang="en-US" smtClean="0"/>
              <a:t>单击此处编辑母版标题样式</a:t>
            </a:r>
            <a:endParaRPr lang="zh-CN" altLang="en-US"/>
          </a:p>
        </p:txBody>
      </p:sp>
      <p:sp>
        <p:nvSpPr>
          <p:cNvPr id="4" name="矩形 3"/>
          <p:cNvSpPr/>
          <p:nvPr userDrawn="1"/>
        </p:nvSpPr>
        <p:spPr>
          <a:xfrm>
            <a:off x="7812360" y="4856553"/>
            <a:ext cx="775136" cy="245110"/>
          </a:xfrm>
          <a:prstGeom prst="rect">
            <a:avLst/>
          </a:prstGeom>
        </p:spPr>
        <p:txBody>
          <a:bodyPr wrap="square">
            <a:spAutoFit/>
          </a:bodyPr>
          <a:lstStyle/>
          <a:p>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下载：</a:t>
            </a:r>
            <a:r>
              <a:rPr lang="en-US" altLang="zh-CN" sz="100" dirty="0">
                <a:solidFill>
                  <a:prstClr val="white"/>
                </a:solidFill>
                <a:latin typeface="Calibri" panose="020F0502020204030204"/>
                <a:ea typeface="宋体" panose="02010600030101010101" pitchFamily="2" charset="-122"/>
              </a:rPr>
              <a:t> www.2ppt.com/moban/     </a:t>
            </a:r>
            <a:r>
              <a:rPr lang="zh-CN" altLang="en-US" sz="100" dirty="0">
                <a:solidFill>
                  <a:prstClr val="white"/>
                </a:solidFill>
                <a:latin typeface="Calibri" panose="020F0502020204030204"/>
                <a:ea typeface="宋体" panose="02010600030101010101" pitchFamily="2" charset="-122"/>
              </a:rPr>
              <a:t>行业</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a:t>
            </a:r>
            <a:r>
              <a:rPr lang="en-US" altLang="zh-CN" sz="100" dirty="0">
                <a:solidFill>
                  <a:prstClr val="white"/>
                </a:solidFill>
                <a:latin typeface="Calibri" panose="020F0502020204030204"/>
                <a:ea typeface="宋体" panose="02010600030101010101" pitchFamily="2" charset="-122"/>
              </a:rPr>
              <a:t> www.2ppt.com/hangye/ </a:t>
            </a:r>
          </a:p>
          <a:p>
            <a:r>
              <a:rPr lang="zh-CN" altLang="en-US" sz="100" dirty="0">
                <a:solidFill>
                  <a:prstClr val="white"/>
                </a:solidFill>
                <a:latin typeface="Calibri" panose="020F0502020204030204"/>
                <a:ea typeface="宋体" panose="02010600030101010101" pitchFamily="2" charset="-122"/>
              </a:rPr>
              <a:t>节日</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模板：</a:t>
            </a:r>
            <a:r>
              <a:rPr lang="en-US" altLang="zh-CN" sz="100" dirty="0">
                <a:solidFill>
                  <a:prstClr val="white"/>
                </a:solidFill>
                <a:latin typeface="Calibri" panose="020F0502020204030204"/>
                <a:ea typeface="宋体" panose="02010600030101010101" pitchFamily="2" charset="-122"/>
              </a:rPr>
              <a:t> www.2ppt.com/jieri/           PPT</a:t>
            </a:r>
            <a:r>
              <a:rPr lang="zh-CN" altLang="en-US" sz="100" dirty="0">
                <a:solidFill>
                  <a:prstClr val="white"/>
                </a:solidFill>
                <a:latin typeface="Calibri" panose="020F0502020204030204"/>
                <a:ea typeface="宋体" panose="02010600030101010101" pitchFamily="2" charset="-122"/>
              </a:rPr>
              <a:t>素材下载：</a:t>
            </a:r>
            <a:r>
              <a:rPr lang="en-US" altLang="zh-CN" sz="100" dirty="0">
                <a:solidFill>
                  <a:prstClr val="white"/>
                </a:solidFill>
                <a:latin typeface="Calibri" panose="020F0502020204030204"/>
                <a:ea typeface="宋体" panose="02010600030101010101" pitchFamily="2" charset="-122"/>
              </a:rPr>
              <a:t> www.2ppt.com/sucai/</a:t>
            </a:r>
          </a:p>
          <a:p>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背景图片：</a:t>
            </a:r>
            <a:r>
              <a:rPr lang="en-US" altLang="zh-CN" sz="100" dirty="0">
                <a:solidFill>
                  <a:prstClr val="white"/>
                </a:solidFill>
                <a:latin typeface="Calibri" panose="020F0502020204030204"/>
                <a:ea typeface="宋体" panose="02010600030101010101" pitchFamily="2" charset="-122"/>
              </a:rPr>
              <a:t> www.2ppt.com/beijing/      PPT</a:t>
            </a:r>
            <a:r>
              <a:rPr lang="zh-CN" altLang="en-US" sz="100" dirty="0">
                <a:solidFill>
                  <a:prstClr val="white"/>
                </a:solidFill>
                <a:latin typeface="Calibri" panose="020F0502020204030204"/>
                <a:ea typeface="宋体" panose="02010600030101010101" pitchFamily="2" charset="-122"/>
              </a:rPr>
              <a:t>图表下载：</a:t>
            </a:r>
            <a:r>
              <a:rPr lang="en-US" altLang="zh-CN" sz="100" dirty="0">
                <a:solidFill>
                  <a:prstClr val="white"/>
                </a:solidFill>
                <a:latin typeface="Calibri" panose="020F0502020204030204"/>
                <a:ea typeface="宋体" panose="02010600030101010101" pitchFamily="2" charset="-122"/>
              </a:rPr>
              <a:t> www.2ppt.com/tubiao/      </a:t>
            </a:r>
          </a:p>
          <a:p>
            <a:r>
              <a:rPr lang="zh-CN" altLang="en-US" sz="100" dirty="0">
                <a:solidFill>
                  <a:prstClr val="white"/>
                </a:solidFill>
                <a:latin typeface="Calibri" panose="020F0502020204030204"/>
                <a:ea typeface="宋体" panose="02010600030101010101" pitchFamily="2" charset="-122"/>
              </a:rPr>
              <a:t>优秀</a:t>
            </a:r>
            <a:r>
              <a:rPr lang="en-US" altLang="zh-CN" sz="100" dirty="0">
                <a:solidFill>
                  <a:prstClr val="white"/>
                </a:solidFill>
                <a:latin typeface="Calibri" panose="020F0502020204030204"/>
                <a:ea typeface="宋体" panose="02010600030101010101" pitchFamily="2" charset="-122"/>
              </a:rPr>
              <a:t>PPT</a:t>
            </a:r>
            <a:r>
              <a:rPr lang="zh-CN" altLang="en-US" sz="100" dirty="0">
                <a:solidFill>
                  <a:prstClr val="white"/>
                </a:solidFill>
                <a:latin typeface="Calibri" panose="020F0502020204030204"/>
                <a:ea typeface="宋体" panose="02010600030101010101" pitchFamily="2" charset="-122"/>
              </a:rPr>
              <a:t>下载：</a:t>
            </a:r>
            <a:r>
              <a:rPr lang="en-US" altLang="zh-CN" sz="100" dirty="0">
                <a:solidFill>
                  <a:prstClr val="white"/>
                </a:solidFill>
                <a:latin typeface="Calibri" panose="020F0502020204030204"/>
                <a:ea typeface="宋体" panose="02010600030101010101" pitchFamily="2" charset="-122"/>
              </a:rPr>
              <a:t> www.2ppt.com/xiazai/        PPT</a:t>
            </a:r>
            <a:r>
              <a:rPr lang="zh-CN" altLang="en-US" sz="100" dirty="0">
                <a:solidFill>
                  <a:prstClr val="white"/>
                </a:solidFill>
                <a:latin typeface="Calibri" panose="020F0502020204030204"/>
                <a:ea typeface="宋体" panose="02010600030101010101" pitchFamily="2" charset="-122"/>
              </a:rPr>
              <a:t>教程： </a:t>
            </a:r>
            <a:r>
              <a:rPr lang="en-US" altLang="zh-CN" sz="100" dirty="0">
                <a:solidFill>
                  <a:prstClr val="white"/>
                </a:solidFill>
                <a:latin typeface="Calibri" panose="020F0502020204030204"/>
                <a:ea typeface="宋体" panose="02010600030101010101" pitchFamily="2" charset="-122"/>
              </a:rPr>
              <a:t> www.2ppt.com/powerpoint/      </a:t>
            </a:r>
          </a:p>
          <a:p>
            <a:r>
              <a:rPr lang="en-US" altLang="zh-CN" sz="100" dirty="0">
                <a:solidFill>
                  <a:prstClr val="white"/>
                </a:solidFill>
                <a:latin typeface="Calibri" panose="020F0502020204030204"/>
                <a:ea typeface="宋体" panose="02010600030101010101" pitchFamily="2" charset="-122"/>
              </a:rPr>
              <a:t>Word</a:t>
            </a:r>
            <a:r>
              <a:rPr lang="zh-CN" altLang="en-US" sz="100" dirty="0">
                <a:solidFill>
                  <a:prstClr val="white"/>
                </a:solidFill>
                <a:latin typeface="Calibri" panose="020F0502020204030204"/>
                <a:ea typeface="宋体" panose="02010600030101010101" pitchFamily="2" charset="-122"/>
              </a:rPr>
              <a:t>教程： </a:t>
            </a:r>
            <a:r>
              <a:rPr lang="en-US" altLang="zh-CN" sz="100" dirty="0">
                <a:solidFill>
                  <a:prstClr val="white"/>
                </a:solidFill>
                <a:latin typeface="Calibri" panose="020F0502020204030204"/>
                <a:ea typeface="宋体" panose="02010600030101010101" pitchFamily="2" charset="-122"/>
              </a:rPr>
              <a:t> www.2ppt.com/word/              Excel</a:t>
            </a:r>
            <a:r>
              <a:rPr lang="zh-CN" altLang="en-US" sz="100" dirty="0">
                <a:solidFill>
                  <a:prstClr val="white"/>
                </a:solidFill>
                <a:latin typeface="Calibri" panose="020F0502020204030204"/>
                <a:ea typeface="宋体" panose="02010600030101010101" pitchFamily="2" charset="-122"/>
              </a:rPr>
              <a:t>教程：</a:t>
            </a:r>
            <a:r>
              <a:rPr lang="en-US" altLang="zh-CN" sz="100" dirty="0">
                <a:solidFill>
                  <a:prstClr val="white"/>
                </a:solidFill>
                <a:latin typeface="Calibri" panose="020F0502020204030204"/>
                <a:ea typeface="宋体" panose="02010600030101010101" pitchFamily="2" charset="-122"/>
              </a:rPr>
              <a:t> www.2ppt.com/excel/  </a:t>
            </a:r>
          </a:p>
          <a:p>
            <a:r>
              <a:rPr lang="zh-CN" altLang="en-US" sz="100" dirty="0">
                <a:solidFill>
                  <a:prstClr val="white"/>
                </a:solidFill>
                <a:latin typeface="Calibri" panose="020F0502020204030204"/>
                <a:ea typeface="宋体" panose="02010600030101010101" pitchFamily="2" charset="-122"/>
              </a:rPr>
              <a:t>资料下载：</a:t>
            </a:r>
            <a:r>
              <a:rPr lang="en-US" altLang="zh-CN" sz="100" dirty="0">
                <a:solidFill>
                  <a:prstClr val="white"/>
                </a:solidFill>
                <a:latin typeface="Calibri" panose="020F0502020204030204"/>
                <a:ea typeface="宋体" panose="02010600030101010101" pitchFamily="2" charset="-122"/>
              </a:rPr>
              <a:t> www.2ppt.com/ziliao/                PPT</a:t>
            </a:r>
            <a:r>
              <a:rPr lang="zh-CN" altLang="en-US" sz="100" dirty="0">
                <a:solidFill>
                  <a:prstClr val="white"/>
                </a:solidFill>
                <a:latin typeface="Calibri" panose="020F0502020204030204"/>
                <a:ea typeface="宋体" panose="02010600030101010101" pitchFamily="2" charset="-122"/>
              </a:rPr>
              <a:t>课件下载：</a:t>
            </a:r>
            <a:r>
              <a:rPr lang="en-US" altLang="zh-CN" sz="100" dirty="0">
                <a:solidFill>
                  <a:prstClr val="white"/>
                </a:solidFill>
                <a:latin typeface="Calibri" panose="020F0502020204030204"/>
                <a:ea typeface="宋体" panose="02010600030101010101" pitchFamily="2" charset="-122"/>
              </a:rPr>
              <a:t> www.2ppt.com/kejian/ </a:t>
            </a:r>
          </a:p>
          <a:p>
            <a:r>
              <a:rPr lang="zh-CN" altLang="en-US" sz="100" dirty="0">
                <a:solidFill>
                  <a:prstClr val="white"/>
                </a:solidFill>
                <a:latin typeface="Calibri" panose="020F0502020204030204"/>
                <a:ea typeface="宋体" panose="02010600030101010101" pitchFamily="2" charset="-122"/>
              </a:rPr>
              <a:t>范文下载：</a:t>
            </a:r>
            <a:r>
              <a:rPr lang="en-US" altLang="zh-CN" sz="100" dirty="0">
                <a:solidFill>
                  <a:prstClr val="white"/>
                </a:solidFill>
                <a:latin typeface="Calibri" panose="020F0502020204030204"/>
                <a:ea typeface="宋体" panose="02010600030101010101" pitchFamily="2" charset="-122"/>
              </a:rPr>
              <a:t> www.2ppt.com/fanwen/             </a:t>
            </a:r>
            <a:r>
              <a:rPr lang="zh-CN" altLang="en-US" sz="100" dirty="0">
                <a:solidFill>
                  <a:prstClr val="white"/>
                </a:solidFill>
                <a:latin typeface="Calibri" panose="020F0502020204030204"/>
                <a:ea typeface="宋体" panose="02010600030101010101" pitchFamily="2" charset="-122"/>
              </a:rPr>
              <a:t>试卷下载：</a:t>
            </a:r>
            <a:r>
              <a:rPr lang="en-US" altLang="zh-CN" sz="100" dirty="0">
                <a:solidFill>
                  <a:prstClr val="white"/>
                </a:solidFill>
                <a:latin typeface="Calibri" panose="020F0502020204030204"/>
                <a:ea typeface="宋体" panose="02010600030101010101" pitchFamily="2" charset="-122"/>
              </a:rPr>
              <a:t> www.2ppt.com/shiti/  </a:t>
            </a:r>
          </a:p>
          <a:p>
            <a:r>
              <a:rPr lang="zh-CN" altLang="en-US" sz="100" dirty="0">
                <a:solidFill>
                  <a:prstClr val="white"/>
                </a:solidFill>
                <a:latin typeface="Calibri" panose="020F0502020204030204"/>
                <a:ea typeface="宋体" panose="02010600030101010101" pitchFamily="2" charset="-122"/>
              </a:rPr>
              <a:t>教案下载：</a:t>
            </a:r>
            <a:r>
              <a:rPr lang="en-US" altLang="zh-CN" sz="100" dirty="0">
                <a:solidFill>
                  <a:prstClr val="white"/>
                </a:solidFill>
                <a:latin typeface="Calibri" panose="020F0502020204030204"/>
                <a:ea typeface="宋体" panose="02010600030101010101" pitchFamily="2" charset="-122"/>
              </a:rPr>
              <a:t> www.2ppt.com/jiaoan/  </a:t>
            </a:r>
            <a:r>
              <a:rPr lang="en-US" altLang="zh-CN" sz="100" dirty="0" smtClean="0">
                <a:solidFill>
                  <a:prstClr val="white"/>
                </a:solidFill>
                <a:latin typeface="Calibri" panose="020F0502020204030204"/>
                <a:ea typeface="宋体" panose="02010600030101010101" pitchFamily="2" charset="-122"/>
              </a:rPr>
              <a:t>      </a:t>
            </a:r>
            <a:endParaRPr lang="en-US" altLang="zh-CN" sz="100" dirty="0">
              <a:solidFill>
                <a:prstClr val="white"/>
              </a:solidFill>
              <a:latin typeface="Calibri" panose="020F0502020204030204"/>
              <a:ea typeface="宋体" panose="02010600030101010101" pitchFamily="2" charset="-122"/>
            </a:endParaRPr>
          </a:p>
          <a:p>
            <a:r>
              <a:rPr lang="zh-CN" altLang="en-US" sz="100" dirty="0" smtClean="0">
                <a:solidFill>
                  <a:prstClr val="white"/>
                </a:solidFill>
                <a:latin typeface="Calibri" panose="020F0502020204030204"/>
                <a:ea typeface="宋体" panose="02010600030101010101" pitchFamily="2" charset="-122"/>
              </a:rPr>
              <a:t>字体下载：</a:t>
            </a:r>
            <a:r>
              <a:rPr lang="en-US" altLang="zh-CN" sz="100" dirty="0" smtClean="0">
                <a:solidFill>
                  <a:prstClr val="white"/>
                </a:solidFill>
                <a:latin typeface="Calibri" panose="020F0502020204030204"/>
                <a:ea typeface="宋体" panose="02010600030101010101" pitchFamily="2" charset="-122"/>
              </a:rPr>
              <a:t> www.2ppt.com/ziti/</a:t>
            </a:r>
            <a:endParaRPr lang="en-US" altLang="zh-CN" sz="100" dirty="0">
              <a:solidFill>
                <a:prstClr val="white"/>
              </a:solidFill>
              <a:latin typeface="Calibri" panose="020F0502020204030204"/>
              <a:ea typeface="宋体" panose="02010600030101010101" pitchFamily="2" charset="-122"/>
            </a:endParaRPr>
          </a:p>
          <a:p>
            <a:r>
              <a:rPr lang="en-US" altLang="zh-CN" sz="100" dirty="0">
                <a:solidFill>
                  <a:prstClr val="white"/>
                </a:solidFill>
                <a:latin typeface="Calibri" panose="020F0502020204030204"/>
                <a:ea typeface="宋体" panose="02010600030101010101" pitchFamily="2" charset="-122"/>
              </a:rPr>
              <a:t> </a:t>
            </a:r>
            <a:endParaRPr lang="zh-CN" altLang="en-US" sz="100" dirty="0">
              <a:solidFill>
                <a:prstClr val="white"/>
              </a:solidFill>
              <a:latin typeface="Calibri" panose="020F0502020204030204"/>
              <a:ea typeface="宋体" panose="02010600030101010101" pitchFamily="2" charset="-122"/>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25.jpeg"/></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31.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33.jpe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slideLayout" Target="../slideLayouts/slideLayout1.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2.png"/><Relationship Id="rId7"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jpeg"/><Relationship Id="rId4" Type="http://schemas.microsoft.com/office/2007/relationships/hdphoto" Target="../media/hdphoto1.wdp"/><Relationship Id="rId9"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2" cstate="screen"/>
          <a:srcRect/>
          <a:stretch>
            <a:fillRect/>
          </a:stretch>
        </p:blipFill>
        <p:spPr>
          <a:xfrm>
            <a:off x="0" y="0"/>
            <a:ext cx="9144000" cy="3700381"/>
          </a:xfrm>
          <a:prstGeom prst="rect">
            <a:avLst/>
          </a:prstGeom>
        </p:spPr>
      </p:pic>
      <p:sp>
        <p:nvSpPr>
          <p:cNvPr id="3" name="圆角矩形 2"/>
          <p:cNvSpPr/>
          <p:nvPr/>
        </p:nvSpPr>
        <p:spPr>
          <a:xfrm>
            <a:off x="314489" y="2263295"/>
            <a:ext cx="4113495" cy="406620"/>
          </a:xfrm>
          <a:prstGeom prst="roundRect">
            <a:avLst>
              <a:gd name="adj" fmla="val 5000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pic>
        <p:nvPicPr>
          <p:cNvPr id="1026" name="Picture 2" descr="C:\Users\MDG\Desktop\58pic_5236b61a2af72.png"/>
          <p:cNvPicPr>
            <a:picLocks noChangeAspect="1" noChangeArrowheads="1"/>
          </p:cNvPicPr>
          <p:nvPr/>
        </p:nvPicPr>
        <p:blipFill rotWithShape="1">
          <a:blip r:embed="rId3" cstate="screen"/>
          <a:srcRect/>
          <a:stretch>
            <a:fillRect/>
          </a:stretch>
        </p:blipFill>
        <p:spPr bwMode="auto">
          <a:xfrm>
            <a:off x="4067944" y="1415685"/>
            <a:ext cx="5076760" cy="367634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51520" y="1183175"/>
            <a:ext cx="5472608" cy="707886"/>
          </a:xfrm>
          <a:prstGeom prst="rect">
            <a:avLst/>
          </a:prstGeom>
          <a:noFill/>
        </p:spPr>
        <p:txBody>
          <a:bodyPr wrap="square" rtlCol="0">
            <a:spAutoFit/>
          </a:bodyPr>
          <a:lstStyle/>
          <a:p>
            <a:r>
              <a:rPr lang="zh-CN" altLang="en-US" sz="4000" b="1" dirty="0">
                <a:solidFill>
                  <a:srgbClr val="C00000"/>
                </a:solidFill>
              </a:rPr>
              <a:t>卡车物流运输</a:t>
            </a:r>
            <a:r>
              <a:rPr lang="en-US" altLang="zh-CN" sz="4000" b="1" dirty="0">
                <a:solidFill>
                  <a:srgbClr val="C00000"/>
                </a:solidFill>
              </a:rPr>
              <a:t>PPT</a:t>
            </a:r>
            <a:r>
              <a:rPr lang="zh-CN" altLang="en-US" sz="4000" b="1" dirty="0">
                <a:solidFill>
                  <a:srgbClr val="C00000"/>
                </a:solidFill>
              </a:rPr>
              <a:t>模板</a:t>
            </a:r>
          </a:p>
        </p:txBody>
      </p:sp>
      <p:grpSp>
        <p:nvGrpSpPr>
          <p:cNvPr id="482" name="组合 481"/>
          <p:cNvGrpSpPr/>
          <p:nvPr/>
        </p:nvGrpSpPr>
        <p:grpSpPr>
          <a:xfrm>
            <a:off x="0" y="5036820"/>
            <a:ext cx="9144000" cy="127218"/>
            <a:chOff x="0" y="4951225"/>
            <a:chExt cx="9144000" cy="192275"/>
          </a:xfrm>
        </p:grpSpPr>
        <p:sp>
          <p:nvSpPr>
            <p:cNvPr id="481" name="矩形 480"/>
            <p:cNvSpPr/>
            <p:nvPr/>
          </p:nvSpPr>
          <p:spPr>
            <a:xfrm>
              <a:off x="5615314" y="4951225"/>
              <a:ext cx="3528686" cy="1922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98" name="矩形 1597"/>
            <p:cNvSpPr/>
            <p:nvPr/>
          </p:nvSpPr>
          <p:spPr>
            <a:xfrm>
              <a:off x="0" y="4951225"/>
              <a:ext cx="6154620" cy="192275"/>
            </a:xfrm>
            <a:custGeom>
              <a:avLst/>
              <a:gdLst/>
              <a:ahLst/>
              <a:cxnLst/>
              <a:rect l="l" t="t" r="r" b="b"/>
              <a:pathLst>
                <a:path w="6154620" h="192275">
                  <a:moveTo>
                    <a:pt x="0" y="0"/>
                  </a:moveTo>
                  <a:lnTo>
                    <a:pt x="5935941" y="0"/>
                  </a:lnTo>
                  <a:lnTo>
                    <a:pt x="6154620" y="192275"/>
                  </a:lnTo>
                  <a:lnTo>
                    <a:pt x="0" y="192275"/>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p14:dur="2000" advTm="5634"/>
    </mc:Choice>
    <mc:Fallback xmlns="">
      <p:transition spd="slow" advTm="563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82"/>
                                        </p:tgtEl>
                                        <p:attrNameLst>
                                          <p:attrName>style.visibility</p:attrName>
                                        </p:attrNameLst>
                                      </p:cBhvr>
                                      <p:to>
                                        <p:strVal val="visible"/>
                                      </p:to>
                                    </p:set>
                                    <p:animEffect transition="in" filter="wipe(left)">
                                      <p:cBhvr>
                                        <p:cTn id="7" dur="500"/>
                                        <p:tgtEl>
                                          <p:spTgt spid="482"/>
                                        </p:tgtEl>
                                      </p:cBhvr>
                                    </p:animEffect>
                                  </p:childTnLst>
                                </p:cTn>
                              </p:par>
                            </p:childTnLst>
                          </p:cTn>
                        </p:par>
                        <p:par>
                          <p:cTn id="8" fill="hold">
                            <p:stCondLst>
                              <p:cond delay="500"/>
                            </p:stCondLst>
                            <p:childTnLst>
                              <p:par>
                                <p:cTn id="9" presetID="2" presetClass="entr" presetSubtype="2" fill="hold" nodeType="afterEffect">
                                  <p:stCondLst>
                                    <p:cond delay="0"/>
                                  </p:stCondLst>
                                  <p:childTnLst>
                                    <p:set>
                                      <p:cBhvr>
                                        <p:cTn id="10" dur="1" fill="hold">
                                          <p:stCondLst>
                                            <p:cond delay="0"/>
                                          </p:stCondLst>
                                        </p:cTn>
                                        <p:tgtEl>
                                          <p:spTgt spid="1026"/>
                                        </p:tgtEl>
                                        <p:attrNameLst>
                                          <p:attrName>style.visibility</p:attrName>
                                        </p:attrNameLst>
                                      </p:cBhvr>
                                      <p:to>
                                        <p:strVal val="visible"/>
                                      </p:to>
                                    </p:set>
                                    <p:anim calcmode="lin" valueType="num">
                                      <p:cBhvr additive="base">
                                        <p:cTn id="11" dur="500" fill="hold"/>
                                        <p:tgtEl>
                                          <p:spTgt spid="1026"/>
                                        </p:tgtEl>
                                        <p:attrNameLst>
                                          <p:attrName>ppt_x</p:attrName>
                                        </p:attrNameLst>
                                      </p:cBhvr>
                                      <p:tavLst>
                                        <p:tav tm="0">
                                          <p:val>
                                            <p:strVal val="1+#ppt_w/2"/>
                                          </p:val>
                                        </p:tav>
                                        <p:tav tm="100000">
                                          <p:val>
                                            <p:strVal val="#ppt_x"/>
                                          </p:val>
                                        </p:tav>
                                      </p:tavLst>
                                    </p:anim>
                                    <p:anim calcmode="lin" valueType="num">
                                      <p:cBhvr additive="base">
                                        <p:cTn id="12" dur="500" fill="hold"/>
                                        <p:tgtEl>
                                          <p:spTgt spid="1026"/>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2" presetClass="entr" presetSubtype="2" decel="100000" fill="hold" grpId="0" nodeType="afterEffect">
                                  <p:stCondLst>
                                    <p:cond delay="0"/>
                                  </p:stCondLst>
                                  <p:iterate type="lt">
                                    <p:tmPct val="10000"/>
                                  </p:iterate>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1+#ppt_w/2"/>
                                          </p:val>
                                        </p:tav>
                                        <p:tav tm="100000">
                                          <p:val>
                                            <p:strVal val="#ppt_x"/>
                                          </p:val>
                                        </p:tav>
                                      </p:tavLst>
                                    </p:anim>
                                    <p:anim calcmode="lin" valueType="num">
                                      <p:cBhvr additive="base">
                                        <p:cTn id="17" dur="500" fill="hold"/>
                                        <p:tgtEl>
                                          <p:spTgt spid="7"/>
                                        </p:tgtEl>
                                        <p:attrNameLst>
                                          <p:attrName>ppt_y</p:attrName>
                                        </p:attrNameLst>
                                      </p:cBhvr>
                                      <p:tavLst>
                                        <p:tav tm="0">
                                          <p:val>
                                            <p:strVal val="#ppt_y"/>
                                          </p:val>
                                        </p:tav>
                                        <p:tav tm="100000">
                                          <p:val>
                                            <p:strVal val="#ppt_y"/>
                                          </p:val>
                                        </p:tav>
                                      </p:tavLst>
                                    </p:anim>
                                  </p:childTnLst>
                                </p:cTn>
                              </p:par>
                            </p:childTnLst>
                          </p:cTn>
                        </p:par>
                        <p:par>
                          <p:cTn id="18" fill="hold">
                            <p:stCondLst>
                              <p:cond delay="1500"/>
                            </p:stCondLst>
                            <p:childTnLst>
                              <p:par>
                                <p:cTn id="19" presetID="10" presetClass="entr" presetSubtype="0" fill="hold" grpId="0" nodeType="afterEffect">
                                  <p:stCondLst>
                                    <p:cond delay="0"/>
                                  </p:stCondLst>
                                  <p:childTnLst>
                                    <p:set>
                                      <p:cBhvr>
                                        <p:cTn id="20" dur="1" fill="hold">
                                          <p:stCondLst>
                                            <p:cond delay="0"/>
                                          </p:stCondLst>
                                        </p:cTn>
                                        <p:tgtEl>
                                          <p:spTgt spid="3"/>
                                        </p:tgtEl>
                                        <p:attrNameLst>
                                          <p:attrName>style.visibility</p:attrName>
                                        </p:attrNameLst>
                                      </p:cBhvr>
                                      <p:to>
                                        <p:strVal val="visible"/>
                                      </p:to>
                                    </p:set>
                                    <p:animEffect transition="in" filter="fade">
                                      <p:cBhvr>
                                        <p:cTn id="2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添加标题</a:t>
            </a:r>
          </a:p>
        </p:txBody>
      </p:sp>
      <p:sp>
        <p:nvSpPr>
          <p:cNvPr id="5" name="矩形 4"/>
          <p:cNvSpPr/>
          <p:nvPr/>
        </p:nvSpPr>
        <p:spPr>
          <a:xfrm>
            <a:off x="3851920" y="843558"/>
            <a:ext cx="1080120" cy="10260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 name="组合 2"/>
          <p:cNvGrpSpPr/>
          <p:nvPr/>
        </p:nvGrpSpPr>
        <p:grpSpPr>
          <a:xfrm>
            <a:off x="5004049" y="846715"/>
            <a:ext cx="3419159" cy="1026034"/>
            <a:chOff x="5004049" y="1227824"/>
            <a:chExt cx="3419159" cy="1026034"/>
          </a:xfrm>
        </p:grpSpPr>
        <p:sp>
          <p:nvSpPr>
            <p:cNvPr id="6" name="矩形 5"/>
            <p:cNvSpPr/>
            <p:nvPr/>
          </p:nvSpPr>
          <p:spPr>
            <a:xfrm>
              <a:off x="5004049" y="1227824"/>
              <a:ext cx="3419158" cy="1026034"/>
            </a:xfrm>
            <a:prstGeom prst="rect">
              <a:avLst/>
            </a:pr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solidFill>
                  <a:srgbClr val="787878"/>
                </a:solidFill>
              </a:endParaRPr>
            </a:p>
          </p:txBody>
        </p:sp>
        <p:sp>
          <p:nvSpPr>
            <p:cNvPr id="8" name="TextBox 7"/>
            <p:cNvSpPr txBox="1"/>
            <p:nvPr/>
          </p:nvSpPr>
          <p:spPr>
            <a:xfrm>
              <a:off x="5057869" y="1352761"/>
              <a:ext cx="2760555" cy="369332"/>
            </a:xfrm>
            <a:prstGeom prst="rect">
              <a:avLst/>
            </a:prstGeom>
            <a:noFill/>
          </p:spPr>
          <p:txBody>
            <a:bodyPr wrap="square" rtlCol="0">
              <a:spAutoFit/>
            </a:bodyPr>
            <a:lstStyle/>
            <a:p>
              <a:r>
                <a:rPr lang="zh-CN" altLang="en-US" b="1" dirty="0">
                  <a:solidFill>
                    <a:schemeClr val="accent1"/>
                  </a:solidFill>
                  <a:latin typeface="微软雅黑" panose="020B0503020204020204" pitchFamily="34" charset="-122"/>
                  <a:ea typeface="微软雅黑" panose="020B0503020204020204" pitchFamily="34" charset="-122"/>
                </a:rPr>
                <a:t>单击此处添加文本</a:t>
              </a:r>
            </a:p>
          </p:txBody>
        </p:sp>
        <p:sp>
          <p:nvSpPr>
            <p:cNvPr id="9" name="TextBox 8"/>
            <p:cNvSpPr txBox="1"/>
            <p:nvPr/>
          </p:nvSpPr>
          <p:spPr>
            <a:xfrm>
              <a:off x="6347950" y="1740841"/>
              <a:ext cx="2075258" cy="261610"/>
            </a:xfrm>
            <a:prstGeom prst="rect">
              <a:avLst/>
            </a:prstGeom>
            <a:noFill/>
          </p:spPr>
          <p:txBody>
            <a:bodyPr wrap="square" rtlCol="0">
              <a:spAutoFit/>
            </a:bodyPr>
            <a:lstStyle/>
            <a:p>
              <a:r>
                <a:rPr lang="zh-CN" altLang="en-US" sz="1050" dirty="0">
                  <a:solidFill>
                    <a:srgbClr val="787878"/>
                  </a:solidFill>
                  <a:latin typeface="微软雅黑" panose="020B0503020204020204" pitchFamily="34" charset="-122"/>
                  <a:ea typeface="微软雅黑" panose="020B0503020204020204" pitchFamily="34" charset="-122"/>
                </a:rPr>
                <a:t>单击此处添加文本</a:t>
              </a:r>
            </a:p>
          </p:txBody>
        </p:sp>
        <p:sp>
          <p:nvSpPr>
            <p:cNvPr id="10" name="TextBox 9"/>
            <p:cNvSpPr txBox="1"/>
            <p:nvPr/>
          </p:nvSpPr>
          <p:spPr>
            <a:xfrm>
              <a:off x="6372200" y="1971169"/>
              <a:ext cx="2051007" cy="261610"/>
            </a:xfrm>
            <a:prstGeom prst="rect">
              <a:avLst/>
            </a:prstGeom>
            <a:noFill/>
          </p:spPr>
          <p:txBody>
            <a:bodyPr wrap="square" rtlCol="0">
              <a:spAutoFit/>
            </a:bodyPr>
            <a:lstStyle/>
            <a:p>
              <a:r>
                <a:rPr lang="zh-CN" altLang="en-US" sz="1050" dirty="0">
                  <a:solidFill>
                    <a:srgbClr val="787878"/>
                  </a:solidFill>
                  <a:latin typeface="微软雅黑" panose="020B0503020204020204" pitchFamily="34" charset="-122"/>
                  <a:ea typeface="微软雅黑" panose="020B0503020204020204" pitchFamily="34" charset="-122"/>
                </a:rPr>
                <a:t>单击此处添加文本</a:t>
              </a:r>
            </a:p>
          </p:txBody>
        </p:sp>
      </p:grpSp>
      <p:grpSp>
        <p:nvGrpSpPr>
          <p:cNvPr id="7" name="组合 6"/>
          <p:cNvGrpSpPr/>
          <p:nvPr/>
        </p:nvGrpSpPr>
        <p:grpSpPr>
          <a:xfrm>
            <a:off x="3851921" y="1958525"/>
            <a:ext cx="4968551" cy="2269409"/>
            <a:chOff x="3851921" y="2339634"/>
            <a:chExt cx="4968551" cy="2269409"/>
          </a:xfrm>
        </p:grpSpPr>
        <p:sp>
          <p:nvSpPr>
            <p:cNvPr id="4" name="矩形 3"/>
            <p:cNvSpPr/>
            <p:nvPr/>
          </p:nvSpPr>
          <p:spPr>
            <a:xfrm>
              <a:off x="3851921" y="2339634"/>
              <a:ext cx="4571286" cy="2269409"/>
            </a:xfrm>
            <a:prstGeom prst="rect">
              <a:avLst/>
            </a:prstGeom>
            <a:solidFill>
              <a:srgbClr val="A9A9A9">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p:cNvGrpSpPr/>
            <p:nvPr/>
          </p:nvGrpSpPr>
          <p:grpSpPr>
            <a:xfrm>
              <a:off x="3995936" y="3290783"/>
              <a:ext cx="1885022" cy="1246252"/>
              <a:chOff x="5063242" y="2434991"/>
              <a:chExt cx="1885022" cy="1246252"/>
            </a:xfrm>
          </p:grpSpPr>
          <p:sp>
            <p:nvSpPr>
              <p:cNvPr id="12" name="TextBox 11"/>
              <p:cNvSpPr txBox="1"/>
              <p:nvPr/>
            </p:nvSpPr>
            <p:spPr>
              <a:xfrm>
                <a:off x="5063243" y="243499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3" name="TextBox 12"/>
              <p:cNvSpPr txBox="1"/>
              <p:nvPr/>
            </p:nvSpPr>
            <p:spPr>
              <a:xfrm>
                <a:off x="5063242" y="2641315"/>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4" name="TextBox 13"/>
              <p:cNvSpPr txBox="1"/>
              <p:nvPr/>
            </p:nvSpPr>
            <p:spPr>
              <a:xfrm>
                <a:off x="5076091" y="282944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5" name="TextBox 14"/>
              <p:cNvSpPr txBox="1"/>
              <p:nvPr/>
            </p:nvSpPr>
            <p:spPr>
              <a:xfrm>
                <a:off x="5076056" y="3025569"/>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6" name="TextBox 15"/>
              <p:cNvSpPr txBox="1"/>
              <p:nvPr/>
            </p:nvSpPr>
            <p:spPr>
              <a:xfrm>
                <a:off x="5076056" y="3219822"/>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7" name="TextBox 16"/>
              <p:cNvSpPr txBox="1"/>
              <p:nvPr/>
            </p:nvSpPr>
            <p:spPr>
              <a:xfrm>
                <a:off x="5076056" y="3404244"/>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grpSp>
        <p:grpSp>
          <p:nvGrpSpPr>
            <p:cNvPr id="18" name="组合 17"/>
            <p:cNvGrpSpPr/>
            <p:nvPr/>
          </p:nvGrpSpPr>
          <p:grpSpPr>
            <a:xfrm>
              <a:off x="5495290" y="2376795"/>
              <a:ext cx="1885022" cy="1246252"/>
              <a:chOff x="5063242" y="2434991"/>
              <a:chExt cx="1885022" cy="1246252"/>
            </a:xfrm>
          </p:grpSpPr>
          <p:sp>
            <p:nvSpPr>
              <p:cNvPr id="19" name="TextBox 18"/>
              <p:cNvSpPr txBox="1"/>
              <p:nvPr/>
            </p:nvSpPr>
            <p:spPr>
              <a:xfrm>
                <a:off x="5063243" y="243499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0" name="TextBox 19"/>
              <p:cNvSpPr txBox="1"/>
              <p:nvPr/>
            </p:nvSpPr>
            <p:spPr>
              <a:xfrm>
                <a:off x="5063242" y="2641315"/>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1" name="TextBox 20"/>
              <p:cNvSpPr txBox="1"/>
              <p:nvPr/>
            </p:nvSpPr>
            <p:spPr>
              <a:xfrm>
                <a:off x="5076091" y="282944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2" name="TextBox 21"/>
              <p:cNvSpPr txBox="1"/>
              <p:nvPr/>
            </p:nvSpPr>
            <p:spPr>
              <a:xfrm>
                <a:off x="5076056" y="3025569"/>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3" name="TextBox 22"/>
              <p:cNvSpPr txBox="1"/>
              <p:nvPr/>
            </p:nvSpPr>
            <p:spPr>
              <a:xfrm>
                <a:off x="5076056" y="3219822"/>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4" name="TextBox 23"/>
              <p:cNvSpPr txBox="1"/>
              <p:nvPr/>
            </p:nvSpPr>
            <p:spPr>
              <a:xfrm>
                <a:off x="5076056" y="3404244"/>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grpSp>
        <p:grpSp>
          <p:nvGrpSpPr>
            <p:cNvPr id="25" name="组合 24"/>
            <p:cNvGrpSpPr/>
            <p:nvPr/>
          </p:nvGrpSpPr>
          <p:grpSpPr>
            <a:xfrm>
              <a:off x="6935450" y="3312899"/>
              <a:ext cx="1885022" cy="1246252"/>
              <a:chOff x="5063242" y="2434991"/>
              <a:chExt cx="1885022" cy="1246252"/>
            </a:xfrm>
          </p:grpSpPr>
          <p:sp>
            <p:nvSpPr>
              <p:cNvPr id="26" name="TextBox 25"/>
              <p:cNvSpPr txBox="1"/>
              <p:nvPr/>
            </p:nvSpPr>
            <p:spPr>
              <a:xfrm>
                <a:off x="5063243" y="243499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7" name="TextBox 26"/>
              <p:cNvSpPr txBox="1"/>
              <p:nvPr/>
            </p:nvSpPr>
            <p:spPr>
              <a:xfrm>
                <a:off x="5063242" y="2641315"/>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8" name="TextBox 27"/>
              <p:cNvSpPr txBox="1"/>
              <p:nvPr/>
            </p:nvSpPr>
            <p:spPr>
              <a:xfrm>
                <a:off x="5076091" y="2829441"/>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29" name="TextBox 28"/>
              <p:cNvSpPr txBox="1"/>
              <p:nvPr/>
            </p:nvSpPr>
            <p:spPr>
              <a:xfrm>
                <a:off x="5076056" y="3025569"/>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30" name="TextBox 29"/>
              <p:cNvSpPr txBox="1"/>
              <p:nvPr/>
            </p:nvSpPr>
            <p:spPr>
              <a:xfrm>
                <a:off x="5076056" y="3219822"/>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31" name="TextBox 30"/>
              <p:cNvSpPr txBox="1"/>
              <p:nvPr/>
            </p:nvSpPr>
            <p:spPr>
              <a:xfrm>
                <a:off x="5076056" y="3404244"/>
                <a:ext cx="1872173"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grpSp>
      </p:grpSp>
      <p:pic>
        <p:nvPicPr>
          <p:cNvPr id="32" name="Picture 17" descr="C:\Users\ABC\Desktop\pen.png"/>
          <p:cNvPicPr>
            <a:picLocks noChangeAspect="1" noChangeArrowheads="1"/>
          </p:cNvPicPr>
          <p:nvPr/>
        </p:nvPicPr>
        <p:blipFill>
          <a:blip r:embed="rId3" cstate="screen">
            <a:biLevel thresh="25000"/>
          </a:blip>
          <a:srcRect/>
          <a:stretch>
            <a:fillRect/>
          </a:stretch>
        </p:blipFill>
        <p:spPr bwMode="auto">
          <a:xfrm>
            <a:off x="4127396" y="1107927"/>
            <a:ext cx="529168" cy="529168"/>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p:cNvPicPr>
            <a:picLocks noChangeAspect="1" noChangeArrowheads="1"/>
          </p:cNvPicPr>
          <p:nvPr/>
        </p:nvPicPr>
        <p:blipFill rotWithShape="1">
          <a:blip r:embed="rId4" cstate="screen">
            <a:grayscl/>
          </a:blip>
          <a:srcRect/>
          <a:stretch>
            <a:fillRect/>
          </a:stretch>
        </p:blipFill>
        <p:spPr bwMode="auto">
          <a:xfrm>
            <a:off x="1043608" y="822489"/>
            <a:ext cx="2675189" cy="33964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ransition spd="slow" advTm="1923">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 calcmode="lin" valueType="num">
                                      <p:cBhvr additive="base">
                                        <p:cTn id="7" dur="500" fill="hold"/>
                                        <p:tgtEl>
                                          <p:spTgt spid="1026"/>
                                        </p:tgtEl>
                                        <p:attrNameLst>
                                          <p:attrName>ppt_x</p:attrName>
                                        </p:attrNameLst>
                                      </p:cBhvr>
                                      <p:tavLst>
                                        <p:tav tm="0">
                                          <p:val>
                                            <p:strVal val="0-#ppt_w/2"/>
                                          </p:val>
                                        </p:tav>
                                        <p:tav tm="100000">
                                          <p:val>
                                            <p:strVal val="#ppt_x"/>
                                          </p:val>
                                        </p:tav>
                                      </p:tavLst>
                                    </p:anim>
                                    <p:anim calcmode="lin" valueType="num">
                                      <p:cBhvr additive="base">
                                        <p:cTn id="8" dur="500" fill="hold"/>
                                        <p:tgtEl>
                                          <p:spTgt spid="1026"/>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500" fill="hold"/>
                                        <p:tgtEl>
                                          <p:spTgt spid="7"/>
                                        </p:tgtEl>
                                        <p:attrNameLst>
                                          <p:attrName>ppt_x</p:attrName>
                                        </p:attrNameLst>
                                      </p:cBhvr>
                                      <p:tavLst>
                                        <p:tav tm="0">
                                          <p:val>
                                            <p:strVal val="#ppt_x"/>
                                          </p:val>
                                        </p:tav>
                                        <p:tav tm="100000">
                                          <p:val>
                                            <p:strVal val="#ppt_x"/>
                                          </p:val>
                                        </p:tav>
                                      </p:tavLst>
                                    </p:anim>
                                    <p:anim calcmode="lin" valueType="num">
                                      <p:cBhvr additive="base">
                                        <p:cTn id="16" dur="500" fill="hold"/>
                                        <p:tgtEl>
                                          <p:spTgt spid="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pic>
        <p:nvPicPr>
          <p:cNvPr id="4" name="图片 3"/>
          <p:cNvPicPr>
            <a:picLocks noChangeAspect="1"/>
          </p:cNvPicPr>
          <p:nvPr/>
        </p:nvPicPr>
        <p:blipFill rotWithShape="1">
          <a:blip r:embed="rId3" cstate="screen">
            <a:grayscl/>
          </a:blip>
          <a:srcRect/>
          <a:stretch>
            <a:fillRect/>
          </a:stretch>
        </p:blipFill>
        <p:spPr>
          <a:xfrm>
            <a:off x="990600" y="836489"/>
            <a:ext cx="1881560" cy="996700"/>
          </a:xfrm>
          <a:prstGeom prst="rect">
            <a:avLst/>
          </a:prstGeom>
          <a:ln w="19050">
            <a:solidFill>
              <a:schemeClr val="bg1"/>
            </a:solidFill>
          </a:ln>
        </p:spPr>
      </p:pic>
      <p:pic>
        <p:nvPicPr>
          <p:cNvPr id="5" name="Picture 2"/>
          <p:cNvPicPr>
            <a:picLocks noChangeAspect="1" noChangeArrowheads="1"/>
          </p:cNvPicPr>
          <p:nvPr/>
        </p:nvPicPr>
        <p:blipFill>
          <a:blip r:embed="rId4" cstate="screen">
            <a:grayscl/>
          </a:blip>
          <a:stretch>
            <a:fillRect/>
          </a:stretch>
        </p:blipFill>
        <p:spPr bwMode="auto">
          <a:xfrm>
            <a:off x="2469272" y="1707654"/>
            <a:ext cx="2318752" cy="1397645"/>
          </a:xfrm>
          <a:prstGeom prst="rect">
            <a:avLst/>
          </a:prstGeom>
          <a:ln w="19050">
            <a:solidFill>
              <a:schemeClr val="bg1"/>
            </a:solidFill>
          </a:ln>
          <a:extLst>
            <a:ext uri="{909E8E84-426E-40DD-AFC4-6F175D3DCCD1}">
              <a14:hiddenFill xmlns:a14="http://schemas.microsoft.com/office/drawing/2010/main">
                <a:solidFill>
                  <a:srgbClr val="FFFFFF"/>
                </a:solidFill>
              </a14:hiddenFill>
            </a:ext>
          </a:extLst>
        </p:spPr>
      </p:pic>
      <p:pic>
        <p:nvPicPr>
          <p:cNvPr id="6" name="Picture 3"/>
          <p:cNvPicPr>
            <a:picLocks noChangeAspect="1" noChangeArrowheads="1"/>
          </p:cNvPicPr>
          <p:nvPr/>
        </p:nvPicPr>
        <p:blipFill rotWithShape="1">
          <a:blip r:embed="rId5" cstate="screen">
            <a:grayscl/>
          </a:blip>
          <a:srcRect/>
          <a:stretch>
            <a:fillRect/>
          </a:stretch>
        </p:blipFill>
        <p:spPr bwMode="auto">
          <a:xfrm>
            <a:off x="638116" y="2787774"/>
            <a:ext cx="2586527" cy="1609982"/>
          </a:xfrm>
          <a:prstGeom prst="rect">
            <a:avLst/>
          </a:prstGeom>
          <a:ln w="19050">
            <a:solidFill>
              <a:schemeClr val="bg1"/>
            </a:solidFill>
          </a:ln>
          <a:extLst>
            <a:ext uri="{909E8E84-426E-40DD-AFC4-6F175D3DCCD1}">
              <a14:hiddenFill xmlns:a14="http://schemas.microsoft.com/office/drawing/2010/main">
                <a:solidFill>
                  <a:srgbClr val="FFFFFF"/>
                </a:solidFill>
              </a14:hiddenFill>
            </a:ext>
          </a:extLst>
        </p:spPr>
      </p:pic>
      <p:pic>
        <p:nvPicPr>
          <p:cNvPr id="7" name="Picture 4"/>
          <p:cNvPicPr>
            <a:picLocks noChangeAspect="1" noChangeArrowheads="1"/>
          </p:cNvPicPr>
          <p:nvPr/>
        </p:nvPicPr>
        <p:blipFill rotWithShape="1">
          <a:blip r:embed="rId6" cstate="screen">
            <a:grayscl/>
          </a:blip>
          <a:srcRect/>
          <a:stretch>
            <a:fillRect/>
          </a:stretch>
        </p:blipFill>
        <p:spPr bwMode="auto">
          <a:xfrm>
            <a:off x="2908628" y="4243858"/>
            <a:ext cx="870744" cy="518641"/>
          </a:xfrm>
          <a:prstGeom prst="rect">
            <a:avLst/>
          </a:prstGeom>
          <a:ln w="19050">
            <a:solidFill>
              <a:schemeClr val="bg1"/>
            </a:solidFill>
          </a:ln>
          <a:extLst>
            <a:ext uri="{909E8E84-426E-40DD-AFC4-6F175D3DCCD1}">
              <a14:hiddenFill xmlns:a14="http://schemas.microsoft.com/office/drawing/2010/main">
                <a:solidFill>
                  <a:srgbClr val="FFFFFF"/>
                </a:solidFill>
              </a14:hiddenFill>
            </a:ext>
          </a:extLst>
        </p:spPr>
      </p:pic>
      <p:grpSp>
        <p:nvGrpSpPr>
          <p:cNvPr id="8" name="组合 7"/>
          <p:cNvGrpSpPr/>
          <p:nvPr/>
        </p:nvGrpSpPr>
        <p:grpSpPr>
          <a:xfrm>
            <a:off x="5724128" y="2203454"/>
            <a:ext cx="2448272" cy="1952472"/>
            <a:chOff x="5724128" y="2968745"/>
            <a:chExt cx="2448272" cy="1952472"/>
          </a:xfrm>
        </p:grpSpPr>
        <p:sp>
          <p:nvSpPr>
            <p:cNvPr id="9" name="矩形 8"/>
            <p:cNvSpPr/>
            <p:nvPr/>
          </p:nvSpPr>
          <p:spPr>
            <a:xfrm>
              <a:off x="5724128" y="2968745"/>
              <a:ext cx="2448272" cy="195247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0" name="TextBox 9"/>
            <p:cNvSpPr txBox="1"/>
            <p:nvPr/>
          </p:nvSpPr>
          <p:spPr>
            <a:xfrm>
              <a:off x="5749669" y="3256661"/>
              <a:ext cx="2328507" cy="276999"/>
            </a:xfrm>
            <a:prstGeom prst="rect">
              <a:avLst/>
            </a:prstGeom>
            <a:noFill/>
          </p:spPr>
          <p:txBody>
            <a:bodyPr wrap="squar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单击此处添加文本</a:t>
              </a:r>
            </a:p>
          </p:txBody>
        </p:sp>
        <p:sp>
          <p:nvSpPr>
            <p:cNvPr id="11" name="TextBox 10"/>
            <p:cNvSpPr txBox="1"/>
            <p:nvPr/>
          </p:nvSpPr>
          <p:spPr>
            <a:xfrm>
              <a:off x="5749668" y="3569177"/>
              <a:ext cx="2328507" cy="276999"/>
            </a:xfrm>
            <a:prstGeom prst="rect">
              <a:avLst/>
            </a:prstGeom>
            <a:noFill/>
          </p:spPr>
          <p:txBody>
            <a:bodyPr wrap="squar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单击此处添加文本</a:t>
              </a:r>
            </a:p>
          </p:txBody>
        </p:sp>
        <p:sp>
          <p:nvSpPr>
            <p:cNvPr id="12" name="TextBox 11"/>
            <p:cNvSpPr txBox="1"/>
            <p:nvPr/>
          </p:nvSpPr>
          <p:spPr>
            <a:xfrm>
              <a:off x="5765649" y="3854129"/>
              <a:ext cx="2328507" cy="276999"/>
            </a:xfrm>
            <a:prstGeom prst="rect">
              <a:avLst/>
            </a:prstGeom>
            <a:noFill/>
          </p:spPr>
          <p:txBody>
            <a:bodyPr wrap="squar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单击此处添加文本</a:t>
              </a:r>
            </a:p>
          </p:txBody>
        </p:sp>
        <p:sp>
          <p:nvSpPr>
            <p:cNvPr id="13" name="TextBox 12"/>
            <p:cNvSpPr txBox="1"/>
            <p:nvPr/>
          </p:nvSpPr>
          <p:spPr>
            <a:xfrm>
              <a:off x="5749668" y="4120757"/>
              <a:ext cx="2328507" cy="276999"/>
            </a:xfrm>
            <a:prstGeom prst="rect">
              <a:avLst/>
            </a:prstGeom>
            <a:noFill/>
          </p:spPr>
          <p:txBody>
            <a:bodyPr wrap="squar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单击此处添加文本</a:t>
              </a:r>
            </a:p>
          </p:txBody>
        </p:sp>
        <p:sp>
          <p:nvSpPr>
            <p:cNvPr id="14" name="TextBox 13"/>
            <p:cNvSpPr txBox="1"/>
            <p:nvPr/>
          </p:nvSpPr>
          <p:spPr>
            <a:xfrm>
              <a:off x="5765649" y="4405709"/>
              <a:ext cx="2328507" cy="276999"/>
            </a:xfrm>
            <a:prstGeom prst="rect">
              <a:avLst/>
            </a:prstGeom>
            <a:noFill/>
          </p:spPr>
          <p:txBody>
            <a:bodyPr wrap="square" rtlCol="0">
              <a:spAutoFit/>
            </a:bodyPr>
            <a:lstStyle/>
            <a:p>
              <a:r>
                <a:rPr lang="zh-CN" altLang="en-US" sz="1200" dirty="0">
                  <a:solidFill>
                    <a:schemeClr val="bg1">
                      <a:lumMod val="50000"/>
                    </a:schemeClr>
                  </a:solidFill>
                  <a:latin typeface="微软雅黑" panose="020B0503020204020204" pitchFamily="34" charset="-122"/>
                  <a:ea typeface="微软雅黑" panose="020B0503020204020204" pitchFamily="34" charset="-122"/>
                </a:rPr>
                <a:t>单击此处添加文本</a:t>
              </a:r>
            </a:p>
          </p:txBody>
        </p:sp>
      </p:grpSp>
      <p:sp>
        <p:nvSpPr>
          <p:cNvPr id="15" name="TextBox 14"/>
          <p:cNvSpPr txBox="1"/>
          <p:nvPr/>
        </p:nvSpPr>
        <p:spPr>
          <a:xfrm>
            <a:off x="5580112" y="1741789"/>
            <a:ext cx="2760555" cy="400110"/>
          </a:xfrm>
          <a:prstGeom prst="rect">
            <a:avLst/>
          </a:prstGeom>
          <a:noFill/>
        </p:spPr>
        <p:txBody>
          <a:bodyPr wrap="square" rtlCol="0">
            <a:spAutoFit/>
          </a:bodyPr>
          <a:lstStyle/>
          <a:p>
            <a:r>
              <a:rPr lang="zh-CN" altLang="en-US" sz="2000" b="1" dirty="0">
                <a:solidFill>
                  <a:schemeClr val="accent1"/>
                </a:solidFill>
                <a:latin typeface="微软雅黑" panose="020B0503020204020204" pitchFamily="34" charset="-122"/>
                <a:ea typeface="微软雅黑" panose="020B0503020204020204" pitchFamily="34" charset="-122"/>
              </a:rPr>
              <a:t>单击此处添加文本</a:t>
            </a:r>
          </a:p>
        </p:txBody>
      </p:sp>
    </p:spTree>
  </p:cSld>
  <p:clrMapOvr>
    <a:masterClrMapping/>
  </p:clrMapOvr>
  <p:transition spd="slow" advTm="3512">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x</p:attrName>
                                        </p:attrNameLst>
                                      </p:cBhvr>
                                      <p:tavLst>
                                        <p:tav tm="0">
                                          <p:val>
                                            <p:strVal val="#ppt_x-#ppt_w*1.125000"/>
                                          </p:val>
                                        </p:tav>
                                        <p:tav tm="100000">
                                          <p:val>
                                            <p:strVal val="#ppt_x"/>
                                          </p:val>
                                        </p:tav>
                                      </p:tavLst>
                                    </p:anim>
                                    <p:animEffect transition="in" filter="wipe(right)">
                                      <p:cBhvr>
                                        <p:cTn id="8" dur="500"/>
                                        <p:tgtEl>
                                          <p:spTgt spid="4"/>
                                        </p:tgtEl>
                                      </p:cBhvr>
                                    </p:animEffect>
                                  </p:childTnLst>
                                </p:cTn>
                              </p:par>
                              <p:par>
                                <p:cTn id="9" presetID="12" presetClass="entr" presetSubtype="8" fill="hold" nodeType="withEffect">
                                  <p:stCondLst>
                                    <p:cond delay="3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p:tgtEl>
                                          <p:spTgt spid="5"/>
                                        </p:tgtEl>
                                        <p:attrNameLst>
                                          <p:attrName>ppt_x</p:attrName>
                                        </p:attrNameLst>
                                      </p:cBhvr>
                                      <p:tavLst>
                                        <p:tav tm="0">
                                          <p:val>
                                            <p:strVal val="#ppt_x-#ppt_w*1.125000"/>
                                          </p:val>
                                        </p:tav>
                                        <p:tav tm="100000">
                                          <p:val>
                                            <p:strVal val="#ppt_x"/>
                                          </p:val>
                                        </p:tav>
                                      </p:tavLst>
                                    </p:anim>
                                    <p:animEffect transition="in" filter="wipe(right)">
                                      <p:cBhvr>
                                        <p:cTn id="12" dur="500"/>
                                        <p:tgtEl>
                                          <p:spTgt spid="5"/>
                                        </p:tgtEl>
                                      </p:cBhvr>
                                    </p:animEffect>
                                  </p:childTnLst>
                                </p:cTn>
                              </p:par>
                              <p:par>
                                <p:cTn id="13" presetID="12" presetClass="entr" presetSubtype="8" fill="hold"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p:tgtEl>
                                          <p:spTgt spid="6"/>
                                        </p:tgtEl>
                                        <p:attrNameLst>
                                          <p:attrName>ppt_x</p:attrName>
                                        </p:attrNameLst>
                                      </p:cBhvr>
                                      <p:tavLst>
                                        <p:tav tm="0">
                                          <p:val>
                                            <p:strVal val="#ppt_x-#ppt_w*1.125000"/>
                                          </p:val>
                                        </p:tav>
                                        <p:tav tm="100000">
                                          <p:val>
                                            <p:strVal val="#ppt_x"/>
                                          </p:val>
                                        </p:tav>
                                      </p:tavLst>
                                    </p:anim>
                                    <p:animEffect transition="in" filter="wipe(right)">
                                      <p:cBhvr>
                                        <p:cTn id="16" dur="500"/>
                                        <p:tgtEl>
                                          <p:spTgt spid="6"/>
                                        </p:tgtEl>
                                      </p:cBhvr>
                                    </p:animEffect>
                                  </p:childTnLst>
                                </p:cTn>
                              </p:par>
                              <p:par>
                                <p:cTn id="17" presetID="12" presetClass="entr" presetSubtype="8" fill="hold" nodeType="withEffect">
                                  <p:stCondLst>
                                    <p:cond delay="70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p:tgtEl>
                                          <p:spTgt spid="7"/>
                                        </p:tgtEl>
                                        <p:attrNameLst>
                                          <p:attrName>ppt_x</p:attrName>
                                        </p:attrNameLst>
                                      </p:cBhvr>
                                      <p:tavLst>
                                        <p:tav tm="0">
                                          <p:val>
                                            <p:strVal val="#ppt_x-#ppt_w*1.125000"/>
                                          </p:val>
                                        </p:tav>
                                        <p:tav tm="100000">
                                          <p:val>
                                            <p:strVal val="#ppt_x"/>
                                          </p:val>
                                        </p:tav>
                                      </p:tavLst>
                                    </p:anim>
                                    <p:animEffect transition="in" filter="wipe(right)">
                                      <p:cBhvr>
                                        <p:cTn id="20" dur="500"/>
                                        <p:tgtEl>
                                          <p:spTgt spid="7"/>
                                        </p:tgtEl>
                                      </p:cBhvr>
                                    </p:animEffect>
                                  </p:childTnLst>
                                </p:cTn>
                              </p:par>
                            </p:childTnLst>
                          </p:cTn>
                        </p:par>
                        <p:par>
                          <p:cTn id="21" fill="hold">
                            <p:stCondLst>
                              <p:cond delay="500"/>
                            </p:stCondLst>
                            <p:childTnLst>
                              <p:par>
                                <p:cTn id="22" presetID="10" presetClass="entr" presetSubtype="0" fill="hold" grpId="0" nodeType="afterEffect">
                                  <p:stCondLst>
                                    <p:cond delay="0"/>
                                  </p:stCondLst>
                                  <p:iterate type="lt">
                                    <p:tmPct val="10000"/>
                                  </p:iterate>
                                  <p:childTnLst>
                                    <p:set>
                                      <p:cBhvr>
                                        <p:cTn id="23" dur="1" fill="hold">
                                          <p:stCondLst>
                                            <p:cond delay="0"/>
                                          </p:stCondLst>
                                        </p:cTn>
                                        <p:tgtEl>
                                          <p:spTgt spid="15"/>
                                        </p:tgtEl>
                                        <p:attrNameLst>
                                          <p:attrName>style.visibility</p:attrName>
                                        </p:attrNameLst>
                                      </p:cBhvr>
                                      <p:to>
                                        <p:strVal val="visible"/>
                                      </p:to>
                                    </p:set>
                                    <p:animEffect transition="in" filter="fade">
                                      <p:cBhvr>
                                        <p:cTn id="24" dur="500"/>
                                        <p:tgtEl>
                                          <p:spTgt spid="15"/>
                                        </p:tgtEl>
                                      </p:cBhvr>
                                    </p:animEffect>
                                  </p:childTnLst>
                                </p:cTn>
                              </p:par>
                            </p:childTnLst>
                          </p:cTn>
                        </p:par>
                        <p:par>
                          <p:cTn id="25" fill="hold">
                            <p:stCondLst>
                              <p:cond delay="850"/>
                            </p:stCondLst>
                            <p:childTnLst>
                              <p:par>
                                <p:cTn id="26" presetID="12" presetClass="entr" presetSubtype="1"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additive="base">
                                        <p:cTn id="28" dur="500"/>
                                        <p:tgtEl>
                                          <p:spTgt spid="8"/>
                                        </p:tgtEl>
                                        <p:attrNameLst>
                                          <p:attrName>ppt_y</p:attrName>
                                        </p:attrNameLst>
                                      </p:cBhvr>
                                      <p:tavLst>
                                        <p:tav tm="0">
                                          <p:val>
                                            <p:strVal val="#ppt_y-#ppt_h*1.125000"/>
                                          </p:val>
                                        </p:tav>
                                        <p:tav tm="100000">
                                          <p:val>
                                            <p:strVal val="#ppt_y"/>
                                          </p:val>
                                        </p:tav>
                                      </p:tavLst>
                                    </p:anim>
                                    <p:animEffect transition="in" filter="wipe(down)">
                                      <p:cBhvr>
                                        <p:cTn id="2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添加标题</a:t>
            </a:r>
          </a:p>
        </p:txBody>
      </p:sp>
      <p:grpSp>
        <p:nvGrpSpPr>
          <p:cNvPr id="3" name="组合 2"/>
          <p:cNvGrpSpPr/>
          <p:nvPr/>
        </p:nvGrpSpPr>
        <p:grpSpPr>
          <a:xfrm>
            <a:off x="4139952" y="1220263"/>
            <a:ext cx="4630764" cy="2128548"/>
            <a:chOff x="3638900" y="1061887"/>
            <a:chExt cx="6876290" cy="3160712"/>
          </a:xfrm>
          <a:solidFill>
            <a:srgbClr val="C5C5C5"/>
          </a:solidFill>
        </p:grpSpPr>
        <p:sp>
          <p:nvSpPr>
            <p:cNvPr id="4" name="Freeform 6"/>
            <p:cNvSpPr/>
            <p:nvPr/>
          </p:nvSpPr>
          <p:spPr bwMode="auto">
            <a:xfrm>
              <a:off x="5056538" y="1161182"/>
              <a:ext cx="47625" cy="25400"/>
            </a:xfrm>
            <a:custGeom>
              <a:avLst/>
              <a:gdLst>
                <a:gd name="T0" fmla="*/ 14 w 13"/>
                <a:gd name="T1" fmla="*/ 2 h 7"/>
                <a:gd name="T2" fmla="*/ 16 w 13"/>
                <a:gd name="T3" fmla="*/ 5 h 7"/>
                <a:gd name="T4" fmla="*/ 23 w 13"/>
                <a:gd name="T5" fmla="*/ 14 h 7"/>
                <a:gd name="T6" fmla="*/ 9 w 13"/>
                <a:gd name="T7" fmla="*/ 9 h 7"/>
                <a:gd name="T8" fmla="*/ 14 w 13"/>
                <a:gd name="T9" fmla="*/ 2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7">
                  <a:moveTo>
                    <a:pt x="6" y="1"/>
                  </a:moveTo>
                  <a:cubicBezTo>
                    <a:pt x="7" y="0"/>
                    <a:pt x="7" y="1"/>
                    <a:pt x="7" y="2"/>
                  </a:cubicBezTo>
                  <a:cubicBezTo>
                    <a:pt x="8" y="4"/>
                    <a:pt x="13" y="4"/>
                    <a:pt x="10" y="6"/>
                  </a:cubicBezTo>
                  <a:cubicBezTo>
                    <a:pt x="6" y="7"/>
                    <a:pt x="8" y="2"/>
                    <a:pt x="4" y="4"/>
                  </a:cubicBezTo>
                  <a:cubicBezTo>
                    <a:pt x="0" y="2"/>
                    <a:pt x="9" y="4"/>
                    <a:pt x="6"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 name="Freeform 7"/>
            <p:cNvSpPr/>
            <p:nvPr/>
          </p:nvSpPr>
          <p:spPr bwMode="auto">
            <a:xfrm>
              <a:off x="5728050" y="1161182"/>
              <a:ext cx="93663" cy="47625"/>
            </a:xfrm>
            <a:custGeom>
              <a:avLst/>
              <a:gdLst>
                <a:gd name="T0" fmla="*/ 57 w 25"/>
                <a:gd name="T1" fmla="*/ 23 h 13"/>
                <a:gd name="T2" fmla="*/ 33 w 25"/>
                <a:gd name="T3" fmla="*/ 28 h 13"/>
                <a:gd name="T4" fmla="*/ 7 w 25"/>
                <a:gd name="T5" fmla="*/ 28 h 13"/>
                <a:gd name="T6" fmla="*/ 0 w 25"/>
                <a:gd name="T7" fmla="*/ 23 h 13"/>
                <a:gd name="T8" fmla="*/ 45 w 25"/>
                <a:gd name="T9" fmla="*/ 2 h 13"/>
                <a:gd name="T10" fmla="*/ 54 w 25"/>
                <a:gd name="T11" fmla="*/ 7 h 13"/>
                <a:gd name="T12" fmla="*/ 47 w 25"/>
                <a:gd name="T13" fmla="*/ 9 h 13"/>
                <a:gd name="T14" fmla="*/ 57 w 25"/>
                <a:gd name="T15" fmla="*/ 23 h 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 h="13">
                  <a:moveTo>
                    <a:pt x="24" y="10"/>
                  </a:moveTo>
                  <a:cubicBezTo>
                    <a:pt x="20" y="10"/>
                    <a:pt x="15" y="9"/>
                    <a:pt x="14" y="12"/>
                  </a:cubicBezTo>
                  <a:cubicBezTo>
                    <a:pt x="12" y="11"/>
                    <a:pt x="8" y="13"/>
                    <a:pt x="3" y="12"/>
                  </a:cubicBezTo>
                  <a:cubicBezTo>
                    <a:pt x="3" y="10"/>
                    <a:pt x="2" y="10"/>
                    <a:pt x="0" y="10"/>
                  </a:cubicBezTo>
                  <a:cubicBezTo>
                    <a:pt x="3" y="3"/>
                    <a:pt x="10" y="0"/>
                    <a:pt x="19" y="1"/>
                  </a:cubicBezTo>
                  <a:cubicBezTo>
                    <a:pt x="18" y="4"/>
                    <a:pt x="22" y="2"/>
                    <a:pt x="23" y="3"/>
                  </a:cubicBezTo>
                  <a:cubicBezTo>
                    <a:pt x="23" y="4"/>
                    <a:pt x="20" y="4"/>
                    <a:pt x="20" y="4"/>
                  </a:cubicBezTo>
                  <a:cubicBezTo>
                    <a:pt x="20" y="6"/>
                    <a:pt x="25" y="5"/>
                    <a:pt x="24" y="1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 name="Freeform 8"/>
            <p:cNvSpPr/>
            <p:nvPr/>
          </p:nvSpPr>
          <p:spPr bwMode="auto">
            <a:xfrm>
              <a:off x="5202588" y="1167532"/>
              <a:ext cx="44450" cy="26987"/>
            </a:xfrm>
            <a:custGeom>
              <a:avLst/>
              <a:gdLst>
                <a:gd name="T0" fmla="*/ 28 w 12"/>
                <a:gd name="T1" fmla="*/ 2 h 7"/>
                <a:gd name="T2" fmla="*/ 26 w 12"/>
                <a:gd name="T3" fmla="*/ 15 h 7"/>
                <a:gd name="T4" fmla="*/ 14 w 12"/>
                <a:gd name="T5" fmla="*/ 17 h 7"/>
                <a:gd name="T6" fmla="*/ 0 w 12"/>
                <a:gd name="T7" fmla="*/ 7 h 7"/>
                <a:gd name="T8" fmla="*/ 16 w 12"/>
                <a:gd name="T9" fmla="*/ 7 h 7"/>
                <a:gd name="T10" fmla="*/ 28 w 12"/>
                <a:gd name="T11" fmla="*/ 2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7">
                  <a:moveTo>
                    <a:pt x="12" y="1"/>
                  </a:moveTo>
                  <a:cubicBezTo>
                    <a:pt x="11" y="2"/>
                    <a:pt x="11" y="4"/>
                    <a:pt x="11" y="6"/>
                  </a:cubicBezTo>
                  <a:cubicBezTo>
                    <a:pt x="8" y="5"/>
                    <a:pt x="8" y="6"/>
                    <a:pt x="6" y="7"/>
                  </a:cubicBezTo>
                  <a:cubicBezTo>
                    <a:pt x="4" y="6"/>
                    <a:pt x="0" y="7"/>
                    <a:pt x="0" y="3"/>
                  </a:cubicBezTo>
                  <a:cubicBezTo>
                    <a:pt x="4" y="4"/>
                    <a:pt x="5" y="1"/>
                    <a:pt x="7" y="3"/>
                  </a:cubicBezTo>
                  <a:cubicBezTo>
                    <a:pt x="9" y="3"/>
                    <a:pt x="8" y="0"/>
                    <a:pt x="12"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 name="Freeform 9"/>
            <p:cNvSpPr/>
            <p:nvPr/>
          </p:nvSpPr>
          <p:spPr bwMode="auto">
            <a:xfrm>
              <a:off x="4916838" y="1180232"/>
              <a:ext cx="60325" cy="33337"/>
            </a:xfrm>
            <a:custGeom>
              <a:avLst/>
              <a:gdLst>
                <a:gd name="T0" fmla="*/ 36 w 16"/>
                <a:gd name="T1" fmla="*/ 0 h 9"/>
                <a:gd name="T2" fmla="*/ 31 w 16"/>
                <a:gd name="T3" fmla="*/ 9 h 9"/>
                <a:gd name="T4" fmla="*/ 21 w 16"/>
                <a:gd name="T5" fmla="*/ 16 h 9"/>
                <a:gd name="T6" fmla="*/ 17 w 16"/>
                <a:gd name="T7" fmla="*/ 12 h 9"/>
                <a:gd name="T8" fmla="*/ 7 w 16"/>
                <a:gd name="T9" fmla="*/ 14 h 9"/>
                <a:gd name="T10" fmla="*/ 2 w 16"/>
                <a:gd name="T11" fmla="*/ 9 h 9"/>
                <a:gd name="T12" fmla="*/ 17 w 16"/>
                <a:gd name="T13" fmla="*/ 7 h 9"/>
                <a:gd name="T14" fmla="*/ 17 w 16"/>
                <a:gd name="T15" fmla="*/ 2 h 9"/>
                <a:gd name="T16" fmla="*/ 36 w 16"/>
                <a:gd name="T17" fmla="*/ 0 h 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6" h="9">
                  <a:moveTo>
                    <a:pt x="15" y="0"/>
                  </a:moveTo>
                  <a:cubicBezTo>
                    <a:pt x="16" y="3"/>
                    <a:pt x="13" y="2"/>
                    <a:pt x="13" y="4"/>
                  </a:cubicBezTo>
                  <a:cubicBezTo>
                    <a:pt x="13" y="5"/>
                    <a:pt x="11" y="7"/>
                    <a:pt x="9" y="7"/>
                  </a:cubicBezTo>
                  <a:cubicBezTo>
                    <a:pt x="7" y="9"/>
                    <a:pt x="7" y="5"/>
                    <a:pt x="7" y="5"/>
                  </a:cubicBezTo>
                  <a:cubicBezTo>
                    <a:pt x="6" y="5"/>
                    <a:pt x="5" y="7"/>
                    <a:pt x="3" y="6"/>
                  </a:cubicBezTo>
                  <a:cubicBezTo>
                    <a:pt x="2" y="6"/>
                    <a:pt x="2" y="3"/>
                    <a:pt x="1" y="4"/>
                  </a:cubicBezTo>
                  <a:cubicBezTo>
                    <a:pt x="0" y="1"/>
                    <a:pt x="5" y="4"/>
                    <a:pt x="7" y="3"/>
                  </a:cubicBezTo>
                  <a:cubicBezTo>
                    <a:pt x="7" y="3"/>
                    <a:pt x="7" y="1"/>
                    <a:pt x="7" y="1"/>
                  </a:cubicBezTo>
                  <a:cubicBezTo>
                    <a:pt x="10" y="1"/>
                    <a:pt x="11" y="1"/>
                    <a:pt x="15"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 name="Freeform 10"/>
            <p:cNvSpPr/>
            <p:nvPr/>
          </p:nvSpPr>
          <p:spPr bwMode="auto">
            <a:xfrm>
              <a:off x="5145438" y="1180232"/>
              <a:ext cx="49213" cy="14287"/>
            </a:xfrm>
            <a:custGeom>
              <a:avLst/>
              <a:gdLst>
                <a:gd name="T0" fmla="*/ 29 w 13"/>
                <a:gd name="T1" fmla="*/ 9 h 4"/>
                <a:gd name="T2" fmla="*/ 5 w 13"/>
                <a:gd name="T3" fmla="*/ 9 h 4"/>
                <a:gd name="T4" fmla="*/ 14 w 13"/>
                <a:gd name="T5" fmla="*/ 0 h 4"/>
                <a:gd name="T6" fmla="*/ 29 w 13"/>
                <a:gd name="T7" fmla="*/ 9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4">
                  <a:moveTo>
                    <a:pt x="12" y="4"/>
                  </a:moveTo>
                  <a:cubicBezTo>
                    <a:pt x="8" y="4"/>
                    <a:pt x="5" y="4"/>
                    <a:pt x="2" y="4"/>
                  </a:cubicBezTo>
                  <a:cubicBezTo>
                    <a:pt x="0" y="0"/>
                    <a:pt x="6" y="3"/>
                    <a:pt x="6" y="0"/>
                  </a:cubicBezTo>
                  <a:cubicBezTo>
                    <a:pt x="7" y="3"/>
                    <a:pt x="13" y="0"/>
                    <a:pt x="12"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 name="Freeform 11"/>
            <p:cNvSpPr/>
            <p:nvPr/>
          </p:nvSpPr>
          <p:spPr bwMode="auto">
            <a:xfrm>
              <a:off x="5078763" y="1197694"/>
              <a:ext cx="55563" cy="19050"/>
            </a:xfrm>
            <a:custGeom>
              <a:avLst/>
              <a:gdLst>
                <a:gd name="T0" fmla="*/ 26 w 15"/>
                <a:gd name="T1" fmla="*/ 0 h 5"/>
                <a:gd name="T2" fmla="*/ 26 w 15"/>
                <a:gd name="T3" fmla="*/ 12 h 5"/>
                <a:gd name="T4" fmla="*/ 0 w 15"/>
                <a:gd name="T5" fmla="*/ 7 h 5"/>
                <a:gd name="T6" fmla="*/ 26 w 15"/>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5">
                  <a:moveTo>
                    <a:pt x="11" y="0"/>
                  </a:moveTo>
                  <a:cubicBezTo>
                    <a:pt x="15" y="2"/>
                    <a:pt x="11" y="1"/>
                    <a:pt x="11" y="5"/>
                  </a:cubicBezTo>
                  <a:cubicBezTo>
                    <a:pt x="7" y="4"/>
                    <a:pt x="2" y="5"/>
                    <a:pt x="0" y="3"/>
                  </a:cubicBezTo>
                  <a:cubicBezTo>
                    <a:pt x="2" y="1"/>
                    <a:pt x="9" y="2"/>
                    <a:pt x="1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 name="Freeform 12"/>
            <p:cNvSpPr/>
            <p:nvPr/>
          </p:nvSpPr>
          <p:spPr bwMode="auto">
            <a:xfrm>
              <a:off x="8935627" y="1219049"/>
              <a:ext cx="26988" cy="15875"/>
            </a:xfrm>
            <a:custGeom>
              <a:avLst/>
              <a:gdLst>
                <a:gd name="T0" fmla="*/ 0 w 7"/>
                <a:gd name="T1" fmla="*/ 0 h 4"/>
                <a:gd name="T2" fmla="*/ 15 w 7"/>
                <a:gd name="T3" fmla="*/ 10 h 4"/>
                <a:gd name="T4" fmla="*/ 0 w 7"/>
                <a:gd name="T5" fmla="*/ 0 h 4"/>
                <a:gd name="T6" fmla="*/ 0 60000 65536"/>
                <a:gd name="T7" fmla="*/ 0 60000 65536"/>
                <a:gd name="T8" fmla="*/ 0 60000 65536"/>
              </a:gdLst>
              <a:ahLst/>
              <a:cxnLst>
                <a:cxn ang="T6">
                  <a:pos x="T0" y="T1"/>
                </a:cxn>
                <a:cxn ang="T7">
                  <a:pos x="T2" y="T3"/>
                </a:cxn>
                <a:cxn ang="T8">
                  <a:pos x="T4" y="T5"/>
                </a:cxn>
              </a:cxnLst>
              <a:rect l="0" t="0" r="r" b="b"/>
              <a:pathLst>
                <a:path w="7" h="4">
                  <a:moveTo>
                    <a:pt x="0" y="0"/>
                  </a:moveTo>
                  <a:cubicBezTo>
                    <a:pt x="4" y="0"/>
                    <a:pt x="7" y="0"/>
                    <a:pt x="6" y="4"/>
                  </a:cubicBezTo>
                  <a:cubicBezTo>
                    <a:pt x="5" y="3"/>
                    <a:pt x="0" y="3"/>
                    <a:pt x="0"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1" name="Freeform 13"/>
            <p:cNvSpPr/>
            <p:nvPr/>
          </p:nvSpPr>
          <p:spPr bwMode="auto">
            <a:xfrm>
              <a:off x="5761388" y="1213569"/>
              <a:ext cx="101600" cy="52387"/>
            </a:xfrm>
            <a:custGeom>
              <a:avLst/>
              <a:gdLst>
                <a:gd name="T0" fmla="*/ 57 w 27"/>
                <a:gd name="T1" fmla="*/ 7 h 14"/>
                <a:gd name="T2" fmla="*/ 64 w 27"/>
                <a:gd name="T3" fmla="*/ 21 h 14"/>
                <a:gd name="T4" fmla="*/ 36 w 27"/>
                <a:gd name="T5" fmla="*/ 28 h 14"/>
                <a:gd name="T6" fmla="*/ 28 w 27"/>
                <a:gd name="T7" fmla="*/ 26 h 14"/>
                <a:gd name="T8" fmla="*/ 19 w 27"/>
                <a:gd name="T9" fmla="*/ 26 h 14"/>
                <a:gd name="T10" fmla="*/ 19 w 27"/>
                <a:gd name="T11" fmla="*/ 21 h 14"/>
                <a:gd name="T12" fmla="*/ 9 w 27"/>
                <a:gd name="T13" fmla="*/ 24 h 14"/>
                <a:gd name="T14" fmla="*/ 12 w 27"/>
                <a:gd name="T15" fmla="*/ 19 h 14"/>
                <a:gd name="T16" fmla="*/ 2 w 27"/>
                <a:gd name="T17" fmla="*/ 17 h 14"/>
                <a:gd name="T18" fmla="*/ 7 w 27"/>
                <a:gd name="T19" fmla="*/ 9 h 14"/>
                <a:gd name="T20" fmla="*/ 17 w 27"/>
                <a:gd name="T21" fmla="*/ 5 h 14"/>
                <a:gd name="T22" fmla="*/ 40 w 27"/>
                <a:gd name="T23" fmla="*/ 2 h 14"/>
                <a:gd name="T24" fmla="*/ 40 w 27"/>
                <a:gd name="T25" fmla="*/ 7 h 14"/>
                <a:gd name="T26" fmla="*/ 57 w 27"/>
                <a:gd name="T27" fmla="*/ 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7" h="14">
                  <a:moveTo>
                    <a:pt x="24" y="3"/>
                  </a:moveTo>
                  <a:cubicBezTo>
                    <a:pt x="23" y="7"/>
                    <a:pt x="20" y="9"/>
                    <a:pt x="27" y="9"/>
                  </a:cubicBezTo>
                  <a:cubicBezTo>
                    <a:pt x="27" y="14"/>
                    <a:pt x="19" y="13"/>
                    <a:pt x="15" y="12"/>
                  </a:cubicBezTo>
                  <a:cubicBezTo>
                    <a:pt x="13" y="12"/>
                    <a:pt x="13" y="12"/>
                    <a:pt x="12" y="11"/>
                  </a:cubicBezTo>
                  <a:cubicBezTo>
                    <a:pt x="10" y="9"/>
                    <a:pt x="11" y="13"/>
                    <a:pt x="8" y="11"/>
                  </a:cubicBezTo>
                  <a:cubicBezTo>
                    <a:pt x="7" y="11"/>
                    <a:pt x="8" y="9"/>
                    <a:pt x="8" y="9"/>
                  </a:cubicBezTo>
                  <a:cubicBezTo>
                    <a:pt x="7" y="9"/>
                    <a:pt x="6" y="11"/>
                    <a:pt x="4" y="10"/>
                  </a:cubicBezTo>
                  <a:cubicBezTo>
                    <a:pt x="4" y="10"/>
                    <a:pt x="6" y="8"/>
                    <a:pt x="5" y="8"/>
                  </a:cubicBezTo>
                  <a:cubicBezTo>
                    <a:pt x="5" y="7"/>
                    <a:pt x="0" y="9"/>
                    <a:pt x="1" y="7"/>
                  </a:cubicBezTo>
                  <a:cubicBezTo>
                    <a:pt x="0" y="4"/>
                    <a:pt x="2" y="5"/>
                    <a:pt x="3" y="4"/>
                  </a:cubicBezTo>
                  <a:cubicBezTo>
                    <a:pt x="5" y="3"/>
                    <a:pt x="4" y="2"/>
                    <a:pt x="7" y="2"/>
                  </a:cubicBezTo>
                  <a:cubicBezTo>
                    <a:pt x="7" y="2"/>
                    <a:pt x="13" y="0"/>
                    <a:pt x="17" y="1"/>
                  </a:cubicBezTo>
                  <a:cubicBezTo>
                    <a:pt x="17" y="1"/>
                    <a:pt x="17" y="3"/>
                    <a:pt x="17" y="3"/>
                  </a:cubicBezTo>
                  <a:cubicBezTo>
                    <a:pt x="19" y="4"/>
                    <a:pt x="23" y="2"/>
                    <a:pt x="24"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2" name="Freeform 14"/>
            <p:cNvSpPr/>
            <p:nvPr/>
          </p:nvSpPr>
          <p:spPr bwMode="auto">
            <a:xfrm>
              <a:off x="5720113" y="1213569"/>
              <a:ext cx="41275" cy="25400"/>
            </a:xfrm>
            <a:custGeom>
              <a:avLst/>
              <a:gdLst>
                <a:gd name="T0" fmla="*/ 26 w 11"/>
                <a:gd name="T1" fmla="*/ 9 h 7"/>
                <a:gd name="T2" fmla="*/ 17 w 11"/>
                <a:gd name="T3" fmla="*/ 9 h 7"/>
                <a:gd name="T4" fmla="*/ 14 w 11"/>
                <a:gd name="T5" fmla="*/ 16 h 7"/>
                <a:gd name="T6" fmla="*/ 0 w 11"/>
                <a:gd name="T7" fmla="*/ 9 h 7"/>
                <a:gd name="T8" fmla="*/ 26 w 11"/>
                <a:gd name="T9" fmla="*/ 9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1" h="7">
                  <a:moveTo>
                    <a:pt x="11" y="4"/>
                  </a:moveTo>
                  <a:cubicBezTo>
                    <a:pt x="10" y="6"/>
                    <a:pt x="8" y="4"/>
                    <a:pt x="7" y="4"/>
                  </a:cubicBezTo>
                  <a:cubicBezTo>
                    <a:pt x="6" y="4"/>
                    <a:pt x="6" y="6"/>
                    <a:pt x="6" y="7"/>
                  </a:cubicBezTo>
                  <a:cubicBezTo>
                    <a:pt x="2" y="7"/>
                    <a:pt x="4" y="3"/>
                    <a:pt x="0" y="4"/>
                  </a:cubicBezTo>
                  <a:cubicBezTo>
                    <a:pt x="2" y="0"/>
                    <a:pt x="7" y="3"/>
                    <a:pt x="11"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3" name="Freeform 15"/>
            <p:cNvSpPr/>
            <p:nvPr/>
          </p:nvSpPr>
          <p:spPr bwMode="auto">
            <a:xfrm>
              <a:off x="8846727" y="1246037"/>
              <a:ext cx="104775" cy="60325"/>
            </a:xfrm>
            <a:custGeom>
              <a:avLst/>
              <a:gdLst>
                <a:gd name="T0" fmla="*/ 47 w 28"/>
                <a:gd name="T1" fmla="*/ 10 h 16"/>
                <a:gd name="T2" fmla="*/ 54 w 28"/>
                <a:gd name="T3" fmla="*/ 21 h 16"/>
                <a:gd name="T4" fmla="*/ 64 w 28"/>
                <a:gd name="T5" fmla="*/ 36 h 16"/>
                <a:gd name="T6" fmla="*/ 54 w 28"/>
                <a:gd name="T7" fmla="*/ 36 h 16"/>
                <a:gd name="T8" fmla="*/ 54 w 28"/>
                <a:gd name="T9" fmla="*/ 31 h 16"/>
                <a:gd name="T10" fmla="*/ 50 w 28"/>
                <a:gd name="T11" fmla="*/ 29 h 16"/>
                <a:gd name="T12" fmla="*/ 14 w 28"/>
                <a:gd name="T13" fmla="*/ 24 h 16"/>
                <a:gd name="T14" fmla="*/ 21 w 28"/>
                <a:gd name="T15" fmla="*/ 19 h 16"/>
                <a:gd name="T16" fmla="*/ 17 w 28"/>
                <a:gd name="T17" fmla="*/ 14 h 16"/>
                <a:gd name="T18" fmla="*/ 0 w 28"/>
                <a:gd name="T19" fmla="*/ 5 h 16"/>
                <a:gd name="T20" fmla="*/ 21 w 28"/>
                <a:gd name="T21" fmla="*/ 5 h 16"/>
                <a:gd name="T22" fmla="*/ 26 w 28"/>
                <a:gd name="T23" fmla="*/ 10 h 16"/>
                <a:gd name="T24" fmla="*/ 38 w 28"/>
                <a:gd name="T25" fmla="*/ 10 h 16"/>
                <a:gd name="T26" fmla="*/ 47 w 28"/>
                <a:gd name="T27" fmla="*/ 10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8" h="16">
                  <a:moveTo>
                    <a:pt x="20" y="4"/>
                  </a:moveTo>
                  <a:cubicBezTo>
                    <a:pt x="21" y="6"/>
                    <a:pt x="22" y="7"/>
                    <a:pt x="23" y="9"/>
                  </a:cubicBezTo>
                  <a:cubicBezTo>
                    <a:pt x="24" y="11"/>
                    <a:pt x="28" y="12"/>
                    <a:pt x="27" y="15"/>
                  </a:cubicBezTo>
                  <a:cubicBezTo>
                    <a:pt x="26" y="15"/>
                    <a:pt x="24" y="16"/>
                    <a:pt x="23" y="15"/>
                  </a:cubicBezTo>
                  <a:cubicBezTo>
                    <a:pt x="23" y="15"/>
                    <a:pt x="24" y="13"/>
                    <a:pt x="23" y="13"/>
                  </a:cubicBezTo>
                  <a:cubicBezTo>
                    <a:pt x="23" y="12"/>
                    <a:pt x="20" y="15"/>
                    <a:pt x="21" y="12"/>
                  </a:cubicBezTo>
                  <a:cubicBezTo>
                    <a:pt x="14" y="11"/>
                    <a:pt x="9" y="11"/>
                    <a:pt x="6" y="10"/>
                  </a:cubicBezTo>
                  <a:cubicBezTo>
                    <a:pt x="5" y="8"/>
                    <a:pt x="7" y="8"/>
                    <a:pt x="9" y="8"/>
                  </a:cubicBezTo>
                  <a:cubicBezTo>
                    <a:pt x="9" y="7"/>
                    <a:pt x="7" y="7"/>
                    <a:pt x="7" y="6"/>
                  </a:cubicBezTo>
                  <a:cubicBezTo>
                    <a:pt x="2" y="4"/>
                    <a:pt x="0" y="7"/>
                    <a:pt x="0" y="2"/>
                  </a:cubicBezTo>
                  <a:cubicBezTo>
                    <a:pt x="2" y="0"/>
                    <a:pt x="6" y="1"/>
                    <a:pt x="9" y="2"/>
                  </a:cubicBezTo>
                  <a:cubicBezTo>
                    <a:pt x="11" y="3"/>
                    <a:pt x="11" y="2"/>
                    <a:pt x="11" y="4"/>
                  </a:cubicBezTo>
                  <a:cubicBezTo>
                    <a:pt x="13" y="6"/>
                    <a:pt x="16" y="1"/>
                    <a:pt x="16" y="4"/>
                  </a:cubicBezTo>
                  <a:cubicBezTo>
                    <a:pt x="16" y="6"/>
                    <a:pt x="20" y="6"/>
                    <a:pt x="20"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4" name="Freeform 16"/>
            <p:cNvSpPr/>
            <p:nvPr/>
          </p:nvSpPr>
          <p:spPr bwMode="auto">
            <a:xfrm>
              <a:off x="5866163" y="1246907"/>
              <a:ext cx="104775" cy="52387"/>
            </a:xfrm>
            <a:custGeom>
              <a:avLst/>
              <a:gdLst>
                <a:gd name="T0" fmla="*/ 28 w 28"/>
                <a:gd name="T1" fmla="*/ 0 h 14"/>
                <a:gd name="T2" fmla="*/ 38 w 28"/>
                <a:gd name="T3" fmla="*/ 7 h 14"/>
                <a:gd name="T4" fmla="*/ 40 w 28"/>
                <a:gd name="T5" fmla="*/ 2 h 14"/>
                <a:gd name="T6" fmla="*/ 47 w 28"/>
                <a:gd name="T7" fmla="*/ 7 h 14"/>
                <a:gd name="T8" fmla="*/ 52 w 28"/>
                <a:gd name="T9" fmla="*/ 7 h 14"/>
                <a:gd name="T10" fmla="*/ 52 w 28"/>
                <a:gd name="T11" fmla="*/ 12 h 14"/>
                <a:gd name="T12" fmla="*/ 64 w 28"/>
                <a:gd name="T13" fmla="*/ 14 h 14"/>
                <a:gd name="T14" fmla="*/ 45 w 28"/>
                <a:gd name="T15" fmla="*/ 19 h 14"/>
                <a:gd name="T16" fmla="*/ 40 w 28"/>
                <a:gd name="T17" fmla="*/ 26 h 14"/>
                <a:gd name="T18" fmla="*/ 17 w 28"/>
                <a:gd name="T19" fmla="*/ 26 h 14"/>
                <a:gd name="T20" fmla="*/ 14 w 28"/>
                <a:gd name="T21" fmla="*/ 31 h 14"/>
                <a:gd name="T22" fmla="*/ 2 w 28"/>
                <a:gd name="T23" fmla="*/ 28 h 14"/>
                <a:gd name="T24" fmla="*/ 2 w 28"/>
                <a:gd name="T25" fmla="*/ 19 h 14"/>
                <a:gd name="T26" fmla="*/ 7 w 28"/>
                <a:gd name="T27" fmla="*/ 19 h 14"/>
                <a:gd name="T28" fmla="*/ 9 w 28"/>
                <a:gd name="T29" fmla="*/ 12 h 14"/>
                <a:gd name="T30" fmla="*/ 17 w 28"/>
                <a:gd name="T31" fmla="*/ 12 h 14"/>
                <a:gd name="T32" fmla="*/ 28 w 28"/>
                <a:gd name="T33" fmla="*/ 0 h 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8" h="14">
                  <a:moveTo>
                    <a:pt x="12" y="0"/>
                  </a:moveTo>
                  <a:cubicBezTo>
                    <a:pt x="12" y="2"/>
                    <a:pt x="17" y="0"/>
                    <a:pt x="16" y="3"/>
                  </a:cubicBezTo>
                  <a:cubicBezTo>
                    <a:pt x="17" y="4"/>
                    <a:pt x="17" y="1"/>
                    <a:pt x="17" y="1"/>
                  </a:cubicBezTo>
                  <a:cubicBezTo>
                    <a:pt x="19" y="1"/>
                    <a:pt x="19" y="3"/>
                    <a:pt x="20" y="3"/>
                  </a:cubicBezTo>
                  <a:cubicBezTo>
                    <a:pt x="20" y="4"/>
                    <a:pt x="22" y="3"/>
                    <a:pt x="22" y="3"/>
                  </a:cubicBezTo>
                  <a:cubicBezTo>
                    <a:pt x="22" y="4"/>
                    <a:pt x="22" y="5"/>
                    <a:pt x="22" y="5"/>
                  </a:cubicBezTo>
                  <a:cubicBezTo>
                    <a:pt x="24" y="5"/>
                    <a:pt x="27" y="4"/>
                    <a:pt x="27" y="6"/>
                  </a:cubicBezTo>
                  <a:cubicBezTo>
                    <a:pt x="28" y="10"/>
                    <a:pt x="21" y="7"/>
                    <a:pt x="19" y="8"/>
                  </a:cubicBezTo>
                  <a:cubicBezTo>
                    <a:pt x="17" y="8"/>
                    <a:pt x="18" y="10"/>
                    <a:pt x="17" y="11"/>
                  </a:cubicBezTo>
                  <a:cubicBezTo>
                    <a:pt x="15" y="12"/>
                    <a:pt x="8" y="11"/>
                    <a:pt x="7" y="11"/>
                  </a:cubicBezTo>
                  <a:cubicBezTo>
                    <a:pt x="6" y="11"/>
                    <a:pt x="6" y="12"/>
                    <a:pt x="6" y="13"/>
                  </a:cubicBezTo>
                  <a:cubicBezTo>
                    <a:pt x="3" y="11"/>
                    <a:pt x="3" y="14"/>
                    <a:pt x="1" y="12"/>
                  </a:cubicBezTo>
                  <a:cubicBezTo>
                    <a:pt x="1" y="11"/>
                    <a:pt x="0" y="9"/>
                    <a:pt x="1" y="8"/>
                  </a:cubicBezTo>
                  <a:cubicBezTo>
                    <a:pt x="1" y="8"/>
                    <a:pt x="3" y="9"/>
                    <a:pt x="3" y="8"/>
                  </a:cubicBezTo>
                  <a:cubicBezTo>
                    <a:pt x="4" y="7"/>
                    <a:pt x="4" y="5"/>
                    <a:pt x="4" y="5"/>
                  </a:cubicBezTo>
                  <a:cubicBezTo>
                    <a:pt x="5" y="4"/>
                    <a:pt x="6" y="5"/>
                    <a:pt x="7" y="5"/>
                  </a:cubicBezTo>
                  <a:cubicBezTo>
                    <a:pt x="8" y="3"/>
                    <a:pt x="10" y="2"/>
                    <a:pt x="12"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5" name="Freeform 17"/>
            <p:cNvSpPr/>
            <p:nvPr/>
          </p:nvSpPr>
          <p:spPr bwMode="auto">
            <a:xfrm>
              <a:off x="8662577" y="1287312"/>
              <a:ext cx="19050" cy="30162"/>
            </a:xfrm>
            <a:custGeom>
              <a:avLst/>
              <a:gdLst>
                <a:gd name="T0" fmla="*/ 12 w 5"/>
                <a:gd name="T1" fmla="*/ 10 h 8"/>
                <a:gd name="T2" fmla="*/ 12 w 5"/>
                <a:gd name="T3" fmla="*/ 10 h 8"/>
                <a:gd name="T4" fmla="*/ 0 60000 65536"/>
                <a:gd name="T5" fmla="*/ 0 60000 65536"/>
              </a:gdLst>
              <a:ahLst/>
              <a:cxnLst>
                <a:cxn ang="T4">
                  <a:pos x="T0" y="T1"/>
                </a:cxn>
                <a:cxn ang="T5">
                  <a:pos x="T2" y="T3"/>
                </a:cxn>
              </a:cxnLst>
              <a:rect l="0" t="0" r="r" b="b"/>
              <a:pathLst>
                <a:path w="5" h="8">
                  <a:moveTo>
                    <a:pt x="5" y="4"/>
                  </a:moveTo>
                  <a:cubicBezTo>
                    <a:pt x="2" y="8"/>
                    <a:pt x="0" y="0"/>
                    <a:pt x="5"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6" name="Freeform 18"/>
            <p:cNvSpPr/>
            <p:nvPr/>
          </p:nvSpPr>
          <p:spPr bwMode="auto">
            <a:xfrm>
              <a:off x="8703852" y="1290487"/>
              <a:ext cx="55563" cy="38100"/>
            </a:xfrm>
            <a:custGeom>
              <a:avLst/>
              <a:gdLst>
                <a:gd name="T0" fmla="*/ 33 w 15"/>
                <a:gd name="T1" fmla="*/ 7 h 10"/>
                <a:gd name="T2" fmla="*/ 9 w 15"/>
                <a:gd name="T3" fmla="*/ 22 h 10"/>
                <a:gd name="T4" fmla="*/ 0 w 15"/>
                <a:gd name="T5" fmla="*/ 12 h 10"/>
                <a:gd name="T6" fmla="*/ 16 w 15"/>
                <a:gd name="T7" fmla="*/ 7 h 10"/>
                <a:gd name="T8" fmla="*/ 33 w 15"/>
                <a:gd name="T9" fmla="*/ 7 h 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10">
                  <a:moveTo>
                    <a:pt x="14" y="3"/>
                  </a:moveTo>
                  <a:cubicBezTo>
                    <a:pt x="15" y="10"/>
                    <a:pt x="6" y="6"/>
                    <a:pt x="4" y="9"/>
                  </a:cubicBezTo>
                  <a:cubicBezTo>
                    <a:pt x="1" y="9"/>
                    <a:pt x="3" y="5"/>
                    <a:pt x="0" y="5"/>
                  </a:cubicBezTo>
                  <a:cubicBezTo>
                    <a:pt x="0" y="2"/>
                    <a:pt x="7" y="7"/>
                    <a:pt x="7" y="3"/>
                  </a:cubicBezTo>
                  <a:cubicBezTo>
                    <a:pt x="7" y="0"/>
                    <a:pt x="10" y="4"/>
                    <a:pt x="14"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7" name="Freeform 19"/>
            <p:cNvSpPr/>
            <p:nvPr/>
          </p:nvSpPr>
          <p:spPr bwMode="auto">
            <a:xfrm>
              <a:off x="9018177" y="1298424"/>
              <a:ext cx="49213" cy="25400"/>
            </a:xfrm>
            <a:custGeom>
              <a:avLst/>
              <a:gdLst>
                <a:gd name="T0" fmla="*/ 26 w 13"/>
                <a:gd name="T1" fmla="*/ 5 h 7"/>
                <a:gd name="T2" fmla="*/ 26 w 13"/>
                <a:gd name="T3" fmla="*/ 11 h 7"/>
                <a:gd name="T4" fmla="*/ 19 w 13"/>
                <a:gd name="T5" fmla="*/ 14 h 7"/>
                <a:gd name="T6" fmla="*/ 17 w 13"/>
                <a:gd name="T7" fmla="*/ 16 h 7"/>
                <a:gd name="T8" fmla="*/ 7 w 13"/>
                <a:gd name="T9" fmla="*/ 14 h 7"/>
                <a:gd name="T10" fmla="*/ 5 w 13"/>
                <a:gd name="T11" fmla="*/ 16 h 7"/>
                <a:gd name="T12" fmla="*/ 2 w 13"/>
                <a:gd name="T13" fmla="*/ 14 h 7"/>
                <a:gd name="T14" fmla="*/ 26 w 13"/>
                <a:gd name="T15" fmla="*/ 5 h 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7">
                  <a:moveTo>
                    <a:pt x="11" y="2"/>
                  </a:moveTo>
                  <a:cubicBezTo>
                    <a:pt x="13" y="3"/>
                    <a:pt x="12" y="4"/>
                    <a:pt x="11" y="5"/>
                  </a:cubicBezTo>
                  <a:cubicBezTo>
                    <a:pt x="10" y="5"/>
                    <a:pt x="9" y="5"/>
                    <a:pt x="8" y="6"/>
                  </a:cubicBezTo>
                  <a:cubicBezTo>
                    <a:pt x="7" y="6"/>
                    <a:pt x="7" y="7"/>
                    <a:pt x="7" y="7"/>
                  </a:cubicBezTo>
                  <a:cubicBezTo>
                    <a:pt x="6" y="7"/>
                    <a:pt x="5" y="6"/>
                    <a:pt x="3" y="6"/>
                  </a:cubicBezTo>
                  <a:cubicBezTo>
                    <a:pt x="3" y="6"/>
                    <a:pt x="3" y="7"/>
                    <a:pt x="2" y="7"/>
                  </a:cubicBezTo>
                  <a:cubicBezTo>
                    <a:pt x="1" y="7"/>
                    <a:pt x="1" y="7"/>
                    <a:pt x="1" y="6"/>
                  </a:cubicBezTo>
                  <a:cubicBezTo>
                    <a:pt x="0" y="0"/>
                    <a:pt x="10" y="6"/>
                    <a:pt x="1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8" name="Freeform 20"/>
            <p:cNvSpPr/>
            <p:nvPr/>
          </p:nvSpPr>
          <p:spPr bwMode="auto">
            <a:xfrm>
              <a:off x="8830852" y="1309537"/>
              <a:ext cx="30163" cy="14287"/>
            </a:xfrm>
            <a:custGeom>
              <a:avLst/>
              <a:gdLst>
                <a:gd name="T0" fmla="*/ 0 w 8"/>
                <a:gd name="T1" fmla="*/ 7 h 4"/>
                <a:gd name="T2" fmla="*/ 14 w 8"/>
                <a:gd name="T3" fmla="*/ 9 h 4"/>
                <a:gd name="T4" fmla="*/ 0 w 8"/>
                <a:gd name="T5" fmla="*/ 7 h 4"/>
                <a:gd name="T6" fmla="*/ 0 60000 65536"/>
                <a:gd name="T7" fmla="*/ 0 60000 65536"/>
                <a:gd name="T8" fmla="*/ 0 60000 65536"/>
              </a:gdLst>
              <a:ahLst/>
              <a:cxnLst>
                <a:cxn ang="T6">
                  <a:pos x="T0" y="T1"/>
                </a:cxn>
                <a:cxn ang="T7">
                  <a:pos x="T2" y="T3"/>
                </a:cxn>
                <a:cxn ang="T8">
                  <a:pos x="T4" y="T5"/>
                </a:cxn>
              </a:cxnLst>
              <a:rect l="0" t="0" r="r" b="b"/>
              <a:pathLst>
                <a:path w="8" h="4">
                  <a:moveTo>
                    <a:pt x="0" y="3"/>
                  </a:moveTo>
                  <a:cubicBezTo>
                    <a:pt x="0" y="1"/>
                    <a:pt x="8" y="0"/>
                    <a:pt x="6" y="4"/>
                  </a:cubicBezTo>
                  <a:cubicBezTo>
                    <a:pt x="3" y="2"/>
                    <a:pt x="4" y="4"/>
                    <a:pt x="0"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9" name="Freeform 21"/>
            <p:cNvSpPr/>
            <p:nvPr/>
          </p:nvSpPr>
          <p:spPr bwMode="auto">
            <a:xfrm>
              <a:off x="9108664" y="1312712"/>
              <a:ext cx="14288" cy="15875"/>
            </a:xfrm>
            <a:custGeom>
              <a:avLst/>
              <a:gdLst>
                <a:gd name="T0" fmla="*/ 0 w 4"/>
                <a:gd name="T1" fmla="*/ 3 h 4"/>
                <a:gd name="T2" fmla="*/ 9 w 4"/>
                <a:gd name="T3" fmla="*/ 10 h 4"/>
                <a:gd name="T4" fmla="*/ 0 w 4"/>
                <a:gd name="T5" fmla="*/ 10 h 4"/>
                <a:gd name="T6" fmla="*/ 0 w 4"/>
                <a:gd name="T7" fmla="*/ 3 h 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4">
                  <a:moveTo>
                    <a:pt x="0" y="1"/>
                  </a:moveTo>
                  <a:cubicBezTo>
                    <a:pt x="3" y="0"/>
                    <a:pt x="4" y="2"/>
                    <a:pt x="4" y="4"/>
                  </a:cubicBezTo>
                  <a:cubicBezTo>
                    <a:pt x="3" y="4"/>
                    <a:pt x="2" y="4"/>
                    <a:pt x="0" y="4"/>
                  </a:cubicBezTo>
                  <a:cubicBezTo>
                    <a:pt x="0" y="3"/>
                    <a:pt x="0" y="2"/>
                    <a:pt x="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0" name="Freeform 22"/>
            <p:cNvSpPr/>
            <p:nvPr/>
          </p:nvSpPr>
          <p:spPr bwMode="auto">
            <a:xfrm>
              <a:off x="8992777" y="1334937"/>
              <a:ext cx="311150" cy="98425"/>
            </a:xfrm>
            <a:custGeom>
              <a:avLst/>
              <a:gdLst>
                <a:gd name="T0" fmla="*/ 196 w 83"/>
                <a:gd name="T1" fmla="*/ 36 h 26"/>
                <a:gd name="T2" fmla="*/ 196 w 83"/>
                <a:gd name="T3" fmla="*/ 48 h 26"/>
                <a:gd name="T4" fmla="*/ 189 w 83"/>
                <a:gd name="T5" fmla="*/ 55 h 26"/>
                <a:gd name="T6" fmla="*/ 153 w 83"/>
                <a:gd name="T7" fmla="*/ 55 h 26"/>
                <a:gd name="T8" fmla="*/ 144 w 83"/>
                <a:gd name="T9" fmla="*/ 60 h 26"/>
                <a:gd name="T10" fmla="*/ 135 w 83"/>
                <a:gd name="T11" fmla="*/ 57 h 26"/>
                <a:gd name="T12" fmla="*/ 132 w 83"/>
                <a:gd name="T13" fmla="*/ 60 h 26"/>
                <a:gd name="T14" fmla="*/ 120 w 83"/>
                <a:gd name="T15" fmla="*/ 60 h 26"/>
                <a:gd name="T16" fmla="*/ 120 w 83"/>
                <a:gd name="T17" fmla="*/ 57 h 26"/>
                <a:gd name="T18" fmla="*/ 116 w 83"/>
                <a:gd name="T19" fmla="*/ 60 h 26"/>
                <a:gd name="T20" fmla="*/ 104 w 83"/>
                <a:gd name="T21" fmla="*/ 55 h 26"/>
                <a:gd name="T22" fmla="*/ 64 w 83"/>
                <a:gd name="T23" fmla="*/ 55 h 26"/>
                <a:gd name="T24" fmla="*/ 66 w 83"/>
                <a:gd name="T25" fmla="*/ 48 h 26"/>
                <a:gd name="T26" fmla="*/ 59 w 83"/>
                <a:gd name="T27" fmla="*/ 45 h 26"/>
                <a:gd name="T28" fmla="*/ 54 w 83"/>
                <a:gd name="T29" fmla="*/ 36 h 26"/>
                <a:gd name="T30" fmla="*/ 59 w 83"/>
                <a:gd name="T31" fmla="*/ 29 h 26"/>
                <a:gd name="T32" fmla="*/ 54 w 83"/>
                <a:gd name="T33" fmla="*/ 19 h 26"/>
                <a:gd name="T34" fmla="*/ 28 w 83"/>
                <a:gd name="T35" fmla="*/ 21 h 26"/>
                <a:gd name="T36" fmla="*/ 24 w 83"/>
                <a:gd name="T37" fmla="*/ 14 h 26"/>
                <a:gd name="T38" fmla="*/ 19 w 83"/>
                <a:gd name="T39" fmla="*/ 12 h 26"/>
                <a:gd name="T40" fmla="*/ 7 w 83"/>
                <a:gd name="T41" fmla="*/ 14 h 26"/>
                <a:gd name="T42" fmla="*/ 2 w 83"/>
                <a:gd name="T43" fmla="*/ 5 h 26"/>
                <a:gd name="T44" fmla="*/ 33 w 83"/>
                <a:gd name="T45" fmla="*/ 0 h 26"/>
                <a:gd name="T46" fmla="*/ 38 w 83"/>
                <a:gd name="T47" fmla="*/ 5 h 26"/>
                <a:gd name="T48" fmla="*/ 38 w 83"/>
                <a:gd name="T49" fmla="*/ 10 h 26"/>
                <a:gd name="T50" fmla="*/ 47 w 83"/>
                <a:gd name="T51" fmla="*/ 14 h 26"/>
                <a:gd name="T52" fmla="*/ 71 w 83"/>
                <a:gd name="T53" fmla="*/ 14 h 26"/>
                <a:gd name="T54" fmla="*/ 71 w 83"/>
                <a:gd name="T55" fmla="*/ 29 h 26"/>
                <a:gd name="T56" fmla="*/ 90 w 83"/>
                <a:gd name="T57" fmla="*/ 31 h 26"/>
                <a:gd name="T58" fmla="*/ 90 w 83"/>
                <a:gd name="T59" fmla="*/ 38 h 26"/>
                <a:gd name="T60" fmla="*/ 97 w 83"/>
                <a:gd name="T61" fmla="*/ 36 h 26"/>
                <a:gd name="T62" fmla="*/ 130 w 83"/>
                <a:gd name="T63" fmla="*/ 36 h 26"/>
                <a:gd name="T64" fmla="*/ 135 w 83"/>
                <a:gd name="T65" fmla="*/ 38 h 26"/>
                <a:gd name="T66" fmla="*/ 144 w 83"/>
                <a:gd name="T67" fmla="*/ 31 h 26"/>
                <a:gd name="T68" fmla="*/ 151 w 83"/>
                <a:gd name="T69" fmla="*/ 31 h 26"/>
                <a:gd name="T70" fmla="*/ 196 w 83"/>
                <a:gd name="T71" fmla="*/ 36 h 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3" h="26">
                  <a:moveTo>
                    <a:pt x="83" y="15"/>
                  </a:moveTo>
                  <a:cubicBezTo>
                    <a:pt x="83" y="17"/>
                    <a:pt x="83" y="19"/>
                    <a:pt x="83" y="20"/>
                  </a:cubicBezTo>
                  <a:cubicBezTo>
                    <a:pt x="81" y="20"/>
                    <a:pt x="80" y="21"/>
                    <a:pt x="80" y="23"/>
                  </a:cubicBezTo>
                  <a:cubicBezTo>
                    <a:pt x="74" y="23"/>
                    <a:pt x="70" y="22"/>
                    <a:pt x="65" y="23"/>
                  </a:cubicBezTo>
                  <a:cubicBezTo>
                    <a:pt x="64" y="23"/>
                    <a:pt x="62" y="25"/>
                    <a:pt x="61" y="25"/>
                  </a:cubicBezTo>
                  <a:cubicBezTo>
                    <a:pt x="59" y="26"/>
                    <a:pt x="59" y="24"/>
                    <a:pt x="57" y="24"/>
                  </a:cubicBezTo>
                  <a:cubicBezTo>
                    <a:pt x="58" y="24"/>
                    <a:pt x="56" y="25"/>
                    <a:pt x="56" y="25"/>
                  </a:cubicBezTo>
                  <a:cubicBezTo>
                    <a:pt x="56" y="25"/>
                    <a:pt x="52" y="25"/>
                    <a:pt x="51" y="25"/>
                  </a:cubicBezTo>
                  <a:cubicBezTo>
                    <a:pt x="51" y="25"/>
                    <a:pt x="51" y="24"/>
                    <a:pt x="51" y="24"/>
                  </a:cubicBezTo>
                  <a:cubicBezTo>
                    <a:pt x="50" y="24"/>
                    <a:pt x="49" y="25"/>
                    <a:pt x="49" y="25"/>
                  </a:cubicBezTo>
                  <a:cubicBezTo>
                    <a:pt x="46" y="25"/>
                    <a:pt x="46" y="23"/>
                    <a:pt x="44" y="23"/>
                  </a:cubicBezTo>
                  <a:cubicBezTo>
                    <a:pt x="39" y="23"/>
                    <a:pt x="34" y="26"/>
                    <a:pt x="27" y="23"/>
                  </a:cubicBezTo>
                  <a:cubicBezTo>
                    <a:pt x="27" y="22"/>
                    <a:pt x="28" y="22"/>
                    <a:pt x="28" y="20"/>
                  </a:cubicBezTo>
                  <a:cubicBezTo>
                    <a:pt x="27" y="19"/>
                    <a:pt x="26" y="20"/>
                    <a:pt x="25" y="19"/>
                  </a:cubicBezTo>
                  <a:cubicBezTo>
                    <a:pt x="24" y="18"/>
                    <a:pt x="26" y="15"/>
                    <a:pt x="23" y="15"/>
                  </a:cubicBezTo>
                  <a:cubicBezTo>
                    <a:pt x="23" y="13"/>
                    <a:pt x="25" y="14"/>
                    <a:pt x="25" y="12"/>
                  </a:cubicBezTo>
                  <a:cubicBezTo>
                    <a:pt x="25" y="10"/>
                    <a:pt x="22" y="11"/>
                    <a:pt x="23" y="8"/>
                  </a:cubicBezTo>
                  <a:cubicBezTo>
                    <a:pt x="21" y="9"/>
                    <a:pt x="16" y="8"/>
                    <a:pt x="12" y="9"/>
                  </a:cubicBezTo>
                  <a:cubicBezTo>
                    <a:pt x="10" y="10"/>
                    <a:pt x="11" y="7"/>
                    <a:pt x="10" y="6"/>
                  </a:cubicBezTo>
                  <a:cubicBezTo>
                    <a:pt x="9" y="6"/>
                    <a:pt x="7" y="7"/>
                    <a:pt x="8" y="5"/>
                  </a:cubicBezTo>
                  <a:cubicBezTo>
                    <a:pt x="7" y="6"/>
                    <a:pt x="5" y="6"/>
                    <a:pt x="3" y="6"/>
                  </a:cubicBezTo>
                  <a:cubicBezTo>
                    <a:pt x="7" y="3"/>
                    <a:pt x="0" y="6"/>
                    <a:pt x="1" y="2"/>
                  </a:cubicBezTo>
                  <a:cubicBezTo>
                    <a:pt x="6" y="2"/>
                    <a:pt x="10" y="1"/>
                    <a:pt x="14" y="0"/>
                  </a:cubicBezTo>
                  <a:cubicBezTo>
                    <a:pt x="13" y="2"/>
                    <a:pt x="16" y="1"/>
                    <a:pt x="16" y="2"/>
                  </a:cubicBezTo>
                  <a:cubicBezTo>
                    <a:pt x="16" y="2"/>
                    <a:pt x="16" y="4"/>
                    <a:pt x="16" y="4"/>
                  </a:cubicBezTo>
                  <a:cubicBezTo>
                    <a:pt x="17" y="5"/>
                    <a:pt x="21" y="3"/>
                    <a:pt x="20" y="6"/>
                  </a:cubicBezTo>
                  <a:cubicBezTo>
                    <a:pt x="23" y="3"/>
                    <a:pt x="26" y="7"/>
                    <a:pt x="30" y="6"/>
                  </a:cubicBezTo>
                  <a:cubicBezTo>
                    <a:pt x="29" y="10"/>
                    <a:pt x="32" y="10"/>
                    <a:pt x="30" y="12"/>
                  </a:cubicBezTo>
                  <a:cubicBezTo>
                    <a:pt x="32" y="13"/>
                    <a:pt x="35" y="12"/>
                    <a:pt x="38" y="13"/>
                  </a:cubicBezTo>
                  <a:cubicBezTo>
                    <a:pt x="39" y="14"/>
                    <a:pt x="33" y="16"/>
                    <a:pt x="38" y="16"/>
                  </a:cubicBezTo>
                  <a:cubicBezTo>
                    <a:pt x="39" y="16"/>
                    <a:pt x="40" y="15"/>
                    <a:pt x="41" y="15"/>
                  </a:cubicBezTo>
                  <a:cubicBezTo>
                    <a:pt x="44" y="14"/>
                    <a:pt x="50" y="14"/>
                    <a:pt x="55" y="15"/>
                  </a:cubicBezTo>
                  <a:cubicBezTo>
                    <a:pt x="56" y="15"/>
                    <a:pt x="58" y="16"/>
                    <a:pt x="57" y="16"/>
                  </a:cubicBezTo>
                  <a:cubicBezTo>
                    <a:pt x="60" y="16"/>
                    <a:pt x="55" y="14"/>
                    <a:pt x="61" y="13"/>
                  </a:cubicBezTo>
                  <a:cubicBezTo>
                    <a:pt x="62" y="13"/>
                    <a:pt x="63" y="14"/>
                    <a:pt x="64" y="13"/>
                  </a:cubicBezTo>
                  <a:cubicBezTo>
                    <a:pt x="69" y="13"/>
                    <a:pt x="76" y="13"/>
                    <a:pt x="83" y="1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1" name="Freeform 23"/>
            <p:cNvSpPr/>
            <p:nvPr/>
          </p:nvSpPr>
          <p:spPr bwMode="auto">
            <a:xfrm>
              <a:off x="4999388" y="1332632"/>
              <a:ext cx="319088" cy="225425"/>
            </a:xfrm>
            <a:custGeom>
              <a:avLst/>
              <a:gdLst>
                <a:gd name="T0" fmla="*/ 163 w 85"/>
                <a:gd name="T1" fmla="*/ 5 h 60"/>
                <a:gd name="T2" fmla="*/ 199 w 85"/>
                <a:gd name="T3" fmla="*/ 0 h 60"/>
                <a:gd name="T4" fmla="*/ 194 w 85"/>
                <a:gd name="T5" fmla="*/ 14 h 60"/>
                <a:gd name="T6" fmla="*/ 158 w 85"/>
                <a:gd name="T7" fmla="*/ 21 h 60"/>
                <a:gd name="T8" fmla="*/ 154 w 85"/>
                <a:gd name="T9" fmla="*/ 26 h 60"/>
                <a:gd name="T10" fmla="*/ 147 w 85"/>
                <a:gd name="T11" fmla="*/ 26 h 60"/>
                <a:gd name="T12" fmla="*/ 142 w 85"/>
                <a:gd name="T13" fmla="*/ 31 h 60"/>
                <a:gd name="T14" fmla="*/ 137 w 85"/>
                <a:gd name="T15" fmla="*/ 28 h 60"/>
                <a:gd name="T16" fmla="*/ 125 w 85"/>
                <a:gd name="T17" fmla="*/ 31 h 60"/>
                <a:gd name="T18" fmla="*/ 114 w 85"/>
                <a:gd name="T19" fmla="*/ 36 h 60"/>
                <a:gd name="T20" fmla="*/ 111 w 85"/>
                <a:gd name="T21" fmla="*/ 40 h 60"/>
                <a:gd name="T22" fmla="*/ 97 w 85"/>
                <a:gd name="T23" fmla="*/ 47 h 60"/>
                <a:gd name="T24" fmla="*/ 90 w 85"/>
                <a:gd name="T25" fmla="*/ 54 h 60"/>
                <a:gd name="T26" fmla="*/ 83 w 85"/>
                <a:gd name="T27" fmla="*/ 59 h 60"/>
                <a:gd name="T28" fmla="*/ 80 w 85"/>
                <a:gd name="T29" fmla="*/ 66 h 60"/>
                <a:gd name="T30" fmla="*/ 66 w 85"/>
                <a:gd name="T31" fmla="*/ 71 h 60"/>
                <a:gd name="T32" fmla="*/ 64 w 85"/>
                <a:gd name="T33" fmla="*/ 73 h 60"/>
                <a:gd name="T34" fmla="*/ 52 w 85"/>
                <a:gd name="T35" fmla="*/ 78 h 60"/>
                <a:gd name="T36" fmla="*/ 47 w 85"/>
                <a:gd name="T37" fmla="*/ 90 h 60"/>
                <a:gd name="T38" fmla="*/ 50 w 85"/>
                <a:gd name="T39" fmla="*/ 107 h 60"/>
                <a:gd name="T40" fmla="*/ 43 w 85"/>
                <a:gd name="T41" fmla="*/ 114 h 60"/>
                <a:gd name="T42" fmla="*/ 47 w 85"/>
                <a:gd name="T43" fmla="*/ 123 h 60"/>
                <a:gd name="T44" fmla="*/ 45 w 85"/>
                <a:gd name="T45" fmla="*/ 125 h 60"/>
                <a:gd name="T46" fmla="*/ 47 w 85"/>
                <a:gd name="T47" fmla="*/ 130 h 60"/>
                <a:gd name="T48" fmla="*/ 50 w 85"/>
                <a:gd name="T49" fmla="*/ 125 h 60"/>
                <a:gd name="T50" fmla="*/ 59 w 85"/>
                <a:gd name="T51" fmla="*/ 133 h 60"/>
                <a:gd name="T52" fmla="*/ 57 w 85"/>
                <a:gd name="T53" fmla="*/ 142 h 60"/>
                <a:gd name="T54" fmla="*/ 31 w 85"/>
                <a:gd name="T55" fmla="*/ 142 h 60"/>
                <a:gd name="T56" fmla="*/ 33 w 85"/>
                <a:gd name="T57" fmla="*/ 137 h 60"/>
                <a:gd name="T58" fmla="*/ 26 w 85"/>
                <a:gd name="T59" fmla="*/ 135 h 60"/>
                <a:gd name="T60" fmla="*/ 19 w 85"/>
                <a:gd name="T61" fmla="*/ 130 h 60"/>
                <a:gd name="T62" fmla="*/ 14 w 85"/>
                <a:gd name="T63" fmla="*/ 130 h 60"/>
                <a:gd name="T64" fmla="*/ 5 w 85"/>
                <a:gd name="T65" fmla="*/ 130 h 60"/>
                <a:gd name="T66" fmla="*/ 2 w 85"/>
                <a:gd name="T67" fmla="*/ 109 h 60"/>
                <a:gd name="T68" fmla="*/ 17 w 85"/>
                <a:gd name="T69" fmla="*/ 104 h 60"/>
                <a:gd name="T70" fmla="*/ 14 w 85"/>
                <a:gd name="T71" fmla="*/ 102 h 60"/>
                <a:gd name="T72" fmla="*/ 17 w 85"/>
                <a:gd name="T73" fmla="*/ 95 h 60"/>
                <a:gd name="T74" fmla="*/ 31 w 85"/>
                <a:gd name="T75" fmla="*/ 90 h 60"/>
                <a:gd name="T76" fmla="*/ 31 w 85"/>
                <a:gd name="T77" fmla="*/ 78 h 60"/>
                <a:gd name="T78" fmla="*/ 38 w 85"/>
                <a:gd name="T79" fmla="*/ 76 h 60"/>
                <a:gd name="T80" fmla="*/ 45 w 85"/>
                <a:gd name="T81" fmla="*/ 69 h 60"/>
                <a:gd name="T82" fmla="*/ 45 w 85"/>
                <a:gd name="T83" fmla="*/ 54 h 60"/>
                <a:gd name="T84" fmla="*/ 66 w 85"/>
                <a:gd name="T85" fmla="*/ 45 h 60"/>
                <a:gd name="T86" fmla="*/ 69 w 85"/>
                <a:gd name="T87" fmla="*/ 40 h 60"/>
                <a:gd name="T88" fmla="*/ 73 w 85"/>
                <a:gd name="T89" fmla="*/ 43 h 60"/>
                <a:gd name="T90" fmla="*/ 78 w 85"/>
                <a:gd name="T91" fmla="*/ 38 h 60"/>
                <a:gd name="T92" fmla="*/ 80 w 85"/>
                <a:gd name="T93" fmla="*/ 31 h 60"/>
                <a:gd name="T94" fmla="*/ 95 w 85"/>
                <a:gd name="T95" fmla="*/ 28 h 60"/>
                <a:gd name="T96" fmla="*/ 111 w 85"/>
                <a:gd name="T97" fmla="*/ 26 h 60"/>
                <a:gd name="T98" fmla="*/ 114 w 85"/>
                <a:gd name="T99" fmla="*/ 24 h 60"/>
                <a:gd name="T100" fmla="*/ 121 w 85"/>
                <a:gd name="T101" fmla="*/ 26 h 60"/>
                <a:gd name="T102" fmla="*/ 123 w 85"/>
                <a:gd name="T103" fmla="*/ 21 h 60"/>
                <a:gd name="T104" fmla="*/ 125 w 85"/>
                <a:gd name="T105" fmla="*/ 21 h 60"/>
                <a:gd name="T106" fmla="*/ 144 w 85"/>
                <a:gd name="T107" fmla="*/ 19 h 60"/>
                <a:gd name="T108" fmla="*/ 151 w 85"/>
                <a:gd name="T109" fmla="*/ 14 h 60"/>
                <a:gd name="T110" fmla="*/ 154 w 85"/>
                <a:gd name="T111" fmla="*/ 12 h 60"/>
                <a:gd name="T112" fmla="*/ 163 w 85"/>
                <a:gd name="T113" fmla="*/ 5 h 6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5" h="60">
                  <a:moveTo>
                    <a:pt x="69" y="2"/>
                  </a:moveTo>
                  <a:cubicBezTo>
                    <a:pt x="73" y="4"/>
                    <a:pt x="79" y="0"/>
                    <a:pt x="84" y="0"/>
                  </a:cubicBezTo>
                  <a:cubicBezTo>
                    <a:pt x="85" y="4"/>
                    <a:pt x="82" y="4"/>
                    <a:pt x="82" y="6"/>
                  </a:cubicBezTo>
                  <a:cubicBezTo>
                    <a:pt x="78" y="4"/>
                    <a:pt x="72" y="8"/>
                    <a:pt x="67" y="9"/>
                  </a:cubicBezTo>
                  <a:cubicBezTo>
                    <a:pt x="66" y="9"/>
                    <a:pt x="66" y="11"/>
                    <a:pt x="65" y="11"/>
                  </a:cubicBezTo>
                  <a:cubicBezTo>
                    <a:pt x="64" y="11"/>
                    <a:pt x="63" y="11"/>
                    <a:pt x="62" y="11"/>
                  </a:cubicBezTo>
                  <a:cubicBezTo>
                    <a:pt x="62" y="11"/>
                    <a:pt x="60" y="13"/>
                    <a:pt x="60" y="13"/>
                  </a:cubicBezTo>
                  <a:cubicBezTo>
                    <a:pt x="59" y="14"/>
                    <a:pt x="59" y="12"/>
                    <a:pt x="58" y="12"/>
                  </a:cubicBezTo>
                  <a:cubicBezTo>
                    <a:pt x="57" y="13"/>
                    <a:pt x="55" y="13"/>
                    <a:pt x="53" y="13"/>
                  </a:cubicBezTo>
                  <a:cubicBezTo>
                    <a:pt x="52" y="14"/>
                    <a:pt x="50" y="14"/>
                    <a:pt x="48" y="15"/>
                  </a:cubicBezTo>
                  <a:cubicBezTo>
                    <a:pt x="47" y="15"/>
                    <a:pt x="48" y="16"/>
                    <a:pt x="47" y="17"/>
                  </a:cubicBezTo>
                  <a:cubicBezTo>
                    <a:pt x="46" y="18"/>
                    <a:pt x="41" y="17"/>
                    <a:pt x="41" y="20"/>
                  </a:cubicBezTo>
                  <a:cubicBezTo>
                    <a:pt x="41" y="22"/>
                    <a:pt x="38" y="22"/>
                    <a:pt x="38" y="23"/>
                  </a:cubicBezTo>
                  <a:cubicBezTo>
                    <a:pt x="37" y="23"/>
                    <a:pt x="36" y="25"/>
                    <a:pt x="35" y="25"/>
                  </a:cubicBezTo>
                  <a:cubicBezTo>
                    <a:pt x="35" y="26"/>
                    <a:pt x="34" y="26"/>
                    <a:pt x="34" y="28"/>
                  </a:cubicBezTo>
                  <a:cubicBezTo>
                    <a:pt x="30" y="29"/>
                    <a:pt x="31" y="27"/>
                    <a:pt x="28" y="30"/>
                  </a:cubicBezTo>
                  <a:cubicBezTo>
                    <a:pt x="28" y="31"/>
                    <a:pt x="27" y="30"/>
                    <a:pt x="27" y="31"/>
                  </a:cubicBezTo>
                  <a:cubicBezTo>
                    <a:pt x="27" y="33"/>
                    <a:pt x="24" y="32"/>
                    <a:pt x="22" y="33"/>
                  </a:cubicBezTo>
                  <a:cubicBezTo>
                    <a:pt x="22" y="36"/>
                    <a:pt x="24" y="39"/>
                    <a:pt x="20" y="38"/>
                  </a:cubicBezTo>
                  <a:cubicBezTo>
                    <a:pt x="21" y="40"/>
                    <a:pt x="19" y="45"/>
                    <a:pt x="21" y="45"/>
                  </a:cubicBezTo>
                  <a:cubicBezTo>
                    <a:pt x="20" y="46"/>
                    <a:pt x="19" y="47"/>
                    <a:pt x="18" y="48"/>
                  </a:cubicBezTo>
                  <a:cubicBezTo>
                    <a:pt x="16" y="51"/>
                    <a:pt x="21" y="50"/>
                    <a:pt x="20" y="52"/>
                  </a:cubicBezTo>
                  <a:cubicBezTo>
                    <a:pt x="20" y="52"/>
                    <a:pt x="18" y="53"/>
                    <a:pt x="19" y="53"/>
                  </a:cubicBezTo>
                  <a:cubicBezTo>
                    <a:pt x="19" y="53"/>
                    <a:pt x="21" y="55"/>
                    <a:pt x="20" y="55"/>
                  </a:cubicBezTo>
                  <a:cubicBezTo>
                    <a:pt x="21" y="55"/>
                    <a:pt x="22" y="54"/>
                    <a:pt x="21" y="53"/>
                  </a:cubicBezTo>
                  <a:cubicBezTo>
                    <a:pt x="22" y="54"/>
                    <a:pt x="22" y="56"/>
                    <a:pt x="25" y="56"/>
                  </a:cubicBezTo>
                  <a:cubicBezTo>
                    <a:pt x="25" y="58"/>
                    <a:pt x="23" y="58"/>
                    <a:pt x="24" y="60"/>
                  </a:cubicBezTo>
                  <a:cubicBezTo>
                    <a:pt x="20" y="60"/>
                    <a:pt x="16" y="60"/>
                    <a:pt x="13" y="60"/>
                  </a:cubicBezTo>
                  <a:cubicBezTo>
                    <a:pt x="13" y="60"/>
                    <a:pt x="15" y="59"/>
                    <a:pt x="14" y="58"/>
                  </a:cubicBezTo>
                  <a:cubicBezTo>
                    <a:pt x="13" y="57"/>
                    <a:pt x="12" y="58"/>
                    <a:pt x="11" y="57"/>
                  </a:cubicBezTo>
                  <a:cubicBezTo>
                    <a:pt x="10" y="57"/>
                    <a:pt x="9" y="55"/>
                    <a:pt x="8" y="55"/>
                  </a:cubicBezTo>
                  <a:cubicBezTo>
                    <a:pt x="8" y="54"/>
                    <a:pt x="6" y="55"/>
                    <a:pt x="6" y="55"/>
                  </a:cubicBezTo>
                  <a:cubicBezTo>
                    <a:pt x="5" y="53"/>
                    <a:pt x="5" y="55"/>
                    <a:pt x="2" y="55"/>
                  </a:cubicBezTo>
                  <a:cubicBezTo>
                    <a:pt x="2" y="52"/>
                    <a:pt x="0" y="50"/>
                    <a:pt x="1" y="46"/>
                  </a:cubicBezTo>
                  <a:cubicBezTo>
                    <a:pt x="5" y="50"/>
                    <a:pt x="2" y="42"/>
                    <a:pt x="7" y="44"/>
                  </a:cubicBezTo>
                  <a:cubicBezTo>
                    <a:pt x="8" y="43"/>
                    <a:pt x="6" y="43"/>
                    <a:pt x="6" y="43"/>
                  </a:cubicBezTo>
                  <a:cubicBezTo>
                    <a:pt x="6" y="42"/>
                    <a:pt x="10" y="41"/>
                    <a:pt x="7" y="40"/>
                  </a:cubicBezTo>
                  <a:cubicBezTo>
                    <a:pt x="8" y="39"/>
                    <a:pt x="11" y="39"/>
                    <a:pt x="13" y="38"/>
                  </a:cubicBezTo>
                  <a:cubicBezTo>
                    <a:pt x="12" y="36"/>
                    <a:pt x="16" y="34"/>
                    <a:pt x="13" y="33"/>
                  </a:cubicBezTo>
                  <a:cubicBezTo>
                    <a:pt x="13" y="32"/>
                    <a:pt x="15" y="32"/>
                    <a:pt x="16" y="32"/>
                  </a:cubicBezTo>
                  <a:cubicBezTo>
                    <a:pt x="16" y="30"/>
                    <a:pt x="17" y="29"/>
                    <a:pt x="19" y="29"/>
                  </a:cubicBezTo>
                  <a:cubicBezTo>
                    <a:pt x="17" y="26"/>
                    <a:pt x="20" y="27"/>
                    <a:pt x="19" y="23"/>
                  </a:cubicBezTo>
                  <a:cubicBezTo>
                    <a:pt x="23" y="23"/>
                    <a:pt x="25" y="20"/>
                    <a:pt x="28" y="19"/>
                  </a:cubicBezTo>
                  <a:cubicBezTo>
                    <a:pt x="30" y="20"/>
                    <a:pt x="29" y="17"/>
                    <a:pt x="29" y="17"/>
                  </a:cubicBezTo>
                  <a:cubicBezTo>
                    <a:pt x="30" y="17"/>
                    <a:pt x="31" y="18"/>
                    <a:pt x="31" y="18"/>
                  </a:cubicBezTo>
                  <a:cubicBezTo>
                    <a:pt x="31" y="18"/>
                    <a:pt x="32" y="16"/>
                    <a:pt x="33" y="16"/>
                  </a:cubicBezTo>
                  <a:cubicBezTo>
                    <a:pt x="33" y="15"/>
                    <a:pt x="34" y="15"/>
                    <a:pt x="34" y="13"/>
                  </a:cubicBezTo>
                  <a:cubicBezTo>
                    <a:pt x="36" y="14"/>
                    <a:pt x="38" y="13"/>
                    <a:pt x="40" y="12"/>
                  </a:cubicBezTo>
                  <a:cubicBezTo>
                    <a:pt x="42" y="11"/>
                    <a:pt x="43" y="12"/>
                    <a:pt x="47" y="11"/>
                  </a:cubicBezTo>
                  <a:cubicBezTo>
                    <a:pt x="48" y="11"/>
                    <a:pt x="48" y="10"/>
                    <a:pt x="48" y="10"/>
                  </a:cubicBezTo>
                  <a:cubicBezTo>
                    <a:pt x="50" y="9"/>
                    <a:pt x="50" y="11"/>
                    <a:pt x="51" y="11"/>
                  </a:cubicBezTo>
                  <a:cubicBezTo>
                    <a:pt x="52" y="11"/>
                    <a:pt x="50" y="9"/>
                    <a:pt x="52" y="9"/>
                  </a:cubicBezTo>
                  <a:cubicBezTo>
                    <a:pt x="52" y="9"/>
                    <a:pt x="53" y="9"/>
                    <a:pt x="53" y="9"/>
                  </a:cubicBezTo>
                  <a:cubicBezTo>
                    <a:pt x="54" y="8"/>
                    <a:pt x="58" y="8"/>
                    <a:pt x="61" y="8"/>
                  </a:cubicBezTo>
                  <a:cubicBezTo>
                    <a:pt x="63" y="7"/>
                    <a:pt x="63" y="7"/>
                    <a:pt x="64" y="6"/>
                  </a:cubicBezTo>
                  <a:cubicBezTo>
                    <a:pt x="64" y="6"/>
                    <a:pt x="65" y="5"/>
                    <a:pt x="65" y="5"/>
                  </a:cubicBezTo>
                  <a:cubicBezTo>
                    <a:pt x="68" y="3"/>
                    <a:pt x="70" y="7"/>
                    <a:pt x="69"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2" name="Freeform 24"/>
            <p:cNvSpPr/>
            <p:nvPr/>
          </p:nvSpPr>
          <p:spPr bwMode="auto">
            <a:xfrm>
              <a:off x="8910227" y="1350812"/>
              <a:ext cx="33338" cy="11112"/>
            </a:xfrm>
            <a:custGeom>
              <a:avLst/>
              <a:gdLst>
                <a:gd name="T0" fmla="*/ 14 w 9"/>
                <a:gd name="T1" fmla="*/ 0 h 3"/>
                <a:gd name="T2" fmla="*/ 21 w 9"/>
                <a:gd name="T3" fmla="*/ 0 h 3"/>
                <a:gd name="T4" fmla="*/ 14 w 9"/>
                <a:gd name="T5" fmla="*/ 0 h 3"/>
                <a:gd name="T6" fmla="*/ 0 60000 65536"/>
                <a:gd name="T7" fmla="*/ 0 60000 65536"/>
                <a:gd name="T8" fmla="*/ 0 60000 65536"/>
              </a:gdLst>
              <a:ahLst/>
              <a:cxnLst>
                <a:cxn ang="T6">
                  <a:pos x="T0" y="T1"/>
                </a:cxn>
                <a:cxn ang="T7">
                  <a:pos x="T2" y="T3"/>
                </a:cxn>
                <a:cxn ang="T8">
                  <a:pos x="T4" y="T5"/>
                </a:cxn>
              </a:cxnLst>
              <a:rect l="0" t="0" r="r" b="b"/>
              <a:pathLst>
                <a:path w="9" h="3">
                  <a:moveTo>
                    <a:pt x="6" y="0"/>
                  </a:moveTo>
                  <a:cubicBezTo>
                    <a:pt x="7" y="0"/>
                    <a:pt x="8" y="0"/>
                    <a:pt x="9" y="0"/>
                  </a:cubicBezTo>
                  <a:cubicBezTo>
                    <a:pt x="9" y="3"/>
                    <a:pt x="0" y="0"/>
                    <a:pt x="6"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3" name="Freeform 25"/>
            <p:cNvSpPr/>
            <p:nvPr/>
          </p:nvSpPr>
          <p:spPr bwMode="auto">
            <a:xfrm>
              <a:off x="6540850" y="1362794"/>
              <a:ext cx="98425" cy="76200"/>
            </a:xfrm>
            <a:custGeom>
              <a:avLst/>
              <a:gdLst>
                <a:gd name="T0" fmla="*/ 17 w 26"/>
                <a:gd name="T1" fmla="*/ 2 h 20"/>
                <a:gd name="T2" fmla="*/ 19 w 26"/>
                <a:gd name="T3" fmla="*/ 5 h 20"/>
                <a:gd name="T4" fmla="*/ 36 w 26"/>
                <a:gd name="T5" fmla="*/ 12 h 20"/>
                <a:gd name="T6" fmla="*/ 45 w 26"/>
                <a:gd name="T7" fmla="*/ 7 h 20"/>
                <a:gd name="T8" fmla="*/ 62 w 26"/>
                <a:gd name="T9" fmla="*/ 10 h 20"/>
                <a:gd name="T10" fmla="*/ 55 w 26"/>
                <a:gd name="T11" fmla="*/ 24 h 20"/>
                <a:gd name="T12" fmla="*/ 33 w 26"/>
                <a:gd name="T13" fmla="*/ 29 h 20"/>
                <a:gd name="T14" fmla="*/ 33 w 26"/>
                <a:gd name="T15" fmla="*/ 34 h 20"/>
                <a:gd name="T16" fmla="*/ 29 w 26"/>
                <a:gd name="T17" fmla="*/ 38 h 20"/>
                <a:gd name="T18" fmla="*/ 19 w 26"/>
                <a:gd name="T19" fmla="*/ 41 h 20"/>
                <a:gd name="T20" fmla="*/ 7 w 26"/>
                <a:gd name="T21" fmla="*/ 36 h 20"/>
                <a:gd name="T22" fmla="*/ 0 w 26"/>
                <a:gd name="T23" fmla="*/ 12 h 20"/>
                <a:gd name="T24" fmla="*/ 17 w 26"/>
                <a:gd name="T25" fmla="*/ 2 h 2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0">
                  <a:moveTo>
                    <a:pt x="7" y="1"/>
                  </a:moveTo>
                  <a:cubicBezTo>
                    <a:pt x="8" y="0"/>
                    <a:pt x="8" y="1"/>
                    <a:pt x="8" y="2"/>
                  </a:cubicBezTo>
                  <a:cubicBezTo>
                    <a:pt x="9" y="4"/>
                    <a:pt x="13" y="4"/>
                    <a:pt x="15" y="5"/>
                  </a:cubicBezTo>
                  <a:cubicBezTo>
                    <a:pt x="17" y="6"/>
                    <a:pt x="18" y="3"/>
                    <a:pt x="19" y="3"/>
                  </a:cubicBezTo>
                  <a:cubicBezTo>
                    <a:pt x="20" y="3"/>
                    <a:pt x="22" y="5"/>
                    <a:pt x="26" y="4"/>
                  </a:cubicBezTo>
                  <a:cubicBezTo>
                    <a:pt x="25" y="5"/>
                    <a:pt x="20" y="8"/>
                    <a:pt x="23" y="10"/>
                  </a:cubicBezTo>
                  <a:cubicBezTo>
                    <a:pt x="22" y="13"/>
                    <a:pt x="18" y="13"/>
                    <a:pt x="14" y="12"/>
                  </a:cubicBezTo>
                  <a:cubicBezTo>
                    <a:pt x="13" y="13"/>
                    <a:pt x="13" y="14"/>
                    <a:pt x="14" y="14"/>
                  </a:cubicBezTo>
                  <a:cubicBezTo>
                    <a:pt x="15" y="16"/>
                    <a:pt x="7" y="14"/>
                    <a:pt x="12" y="16"/>
                  </a:cubicBezTo>
                  <a:cubicBezTo>
                    <a:pt x="12" y="20"/>
                    <a:pt x="8" y="14"/>
                    <a:pt x="8" y="17"/>
                  </a:cubicBezTo>
                  <a:cubicBezTo>
                    <a:pt x="6" y="17"/>
                    <a:pt x="7" y="13"/>
                    <a:pt x="3" y="15"/>
                  </a:cubicBezTo>
                  <a:cubicBezTo>
                    <a:pt x="3" y="11"/>
                    <a:pt x="3" y="7"/>
                    <a:pt x="0" y="5"/>
                  </a:cubicBezTo>
                  <a:cubicBezTo>
                    <a:pt x="1" y="3"/>
                    <a:pt x="8" y="5"/>
                    <a:pt x="7"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4" name="Freeform 26"/>
            <p:cNvSpPr/>
            <p:nvPr/>
          </p:nvSpPr>
          <p:spPr bwMode="auto">
            <a:xfrm>
              <a:off x="8587964" y="1376212"/>
              <a:ext cx="25400" cy="19050"/>
            </a:xfrm>
            <a:custGeom>
              <a:avLst/>
              <a:gdLst>
                <a:gd name="T0" fmla="*/ 9 w 7"/>
                <a:gd name="T1" fmla="*/ 0 h 5"/>
                <a:gd name="T2" fmla="*/ 11 w 7"/>
                <a:gd name="T3" fmla="*/ 12 h 5"/>
                <a:gd name="T4" fmla="*/ 0 w 7"/>
                <a:gd name="T5" fmla="*/ 10 h 5"/>
                <a:gd name="T6" fmla="*/ 9 w 7"/>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5">
                  <a:moveTo>
                    <a:pt x="4" y="0"/>
                  </a:moveTo>
                  <a:cubicBezTo>
                    <a:pt x="7" y="1"/>
                    <a:pt x="5" y="2"/>
                    <a:pt x="5" y="5"/>
                  </a:cubicBezTo>
                  <a:cubicBezTo>
                    <a:pt x="4" y="4"/>
                    <a:pt x="2" y="3"/>
                    <a:pt x="0" y="4"/>
                  </a:cubicBezTo>
                  <a:cubicBezTo>
                    <a:pt x="1" y="1"/>
                    <a:pt x="4" y="3"/>
                    <a:pt x="4"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5" name="Freeform 27"/>
            <p:cNvSpPr/>
            <p:nvPr/>
          </p:nvSpPr>
          <p:spPr bwMode="auto">
            <a:xfrm>
              <a:off x="6645625" y="1373907"/>
              <a:ext cx="46038" cy="41275"/>
            </a:xfrm>
            <a:custGeom>
              <a:avLst/>
              <a:gdLst>
                <a:gd name="T0" fmla="*/ 0 w 12"/>
                <a:gd name="T1" fmla="*/ 9 h 11"/>
                <a:gd name="T2" fmla="*/ 29 w 12"/>
                <a:gd name="T3" fmla="*/ 14 h 11"/>
                <a:gd name="T4" fmla="*/ 17 w 12"/>
                <a:gd name="T5" fmla="*/ 26 h 11"/>
                <a:gd name="T6" fmla="*/ 12 w 12"/>
                <a:gd name="T7" fmla="*/ 19 h 11"/>
                <a:gd name="T8" fmla="*/ 5 w 12"/>
                <a:gd name="T9" fmla="*/ 19 h 11"/>
                <a:gd name="T10" fmla="*/ 0 w 12"/>
                <a:gd name="T11" fmla="*/ 9 h 1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11">
                  <a:moveTo>
                    <a:pt x="0" y="4"/>
                  </a:moveTo>
                  <a:cubicBezTo>
                    <a:pt x="4" y="0"/>
                    <a:pt x="10" y="4"/>
                    <a:pt x="12" y="6"/>
                  </a:cubicBezTo>
                  <a:cubicBezTo>
                    <a:pt x="12" y="9"/>
                    <a:pt x="6" y="7"/>
                    <a:pt x="7" y="11"/>
                  </a:cubicBezTo>
                  <a:cubicBezTo>
                    <a:pt x="6" y="11"/>
                    <a:pt x="6" y="9"/>
                    <a:pt x="5" y="8"/>
                  </a:cubicBezTo>
                  <a:cubicBezTo>
                    <a:pt x="4" y="8"/>
                    <a:pt x="3" y="9"/>
                    <a:pt x="2" y="8"/>
                  </a:cubicBezTo>
                  <a:cubicBezTo>
                    <a:pt x="1" y="7"/>
                    <a:pt x="3" y="4"/>
                    <a:pt x="0"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6" name="Freeform 28"/>
            <p:cNvSpPr/>
            <p:nvPr/>
          </p:nvSpPr>
          <p:spPr bwMode="auto">
            <a:xfrm>
              <a:off x="6702775" y="1389782"/>
              <a:ext cx="66675" cy="33337"/>
            </a:xfrm>
            <a:custGeom>
              <a:avLst/>
              <a:gdLst>
                <a:gd name="T0" fmla="*/ 5 w 18"/>
                <a:gd name="T1" fmla="*/ 2 h 9"/>
                <a:gd name="T2" fmla="*/ 9 w 18"/>
                <a:gd name="T3" fmla="*/ 2 h 9"/>
                <a:gd name="T4" fmla="*/ 23 w 18"/>
                <a:gd name="T5" fmla="*/ 7 h 9"/>
                <a:gd name="T6" fmla="*/ 37 w 18"/>
                <a:gd name="T7" fmla="*/ 12 h 9"/>
                <a:gd name="T8" fmla="*/ 42 w 18"/>
                <a:gd name="T9" fmla="*/ 19 h 9"/>
                <a:gd name="T10" fmla="*/ 9 w 18"/>
                <a:gd name="T11" fmla="*/ 12 h 9"/>
                <a:gd name="T12" fmla="*/ 5 w 18"/>
                <a:gd name="T13" fmla="*/ 2 h 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9">
                  <a:moveTo>
                    <a:pt x="2" y="1"/>
                  </a:moveTo>
                  <a:cubicBezTo>
                    <a:pt x="2" y="1"/>
                    <a:pt x="3" y="1"/>
                    <a:pt x="4" y="1"/>
                  </a:cubicBezTo>
                  <a:cubicBezTo>
                    <a:pt x="8" y="0"/>
                    <a:pt x="7" y="3"/>
                    <a:pt x="10" y="3"/>
                  </a:cubicBezTo>
                  <a:cubicBezTo>
                    <a:pt x="12" y="4"/>
                    <a:pt x="14" y="4"/>
                    <a:pt x="16" y="5"/>
                  </a:cubicBezTo>
                  <a:cubicBezTo>
                    <a:pt x="17" y="6"/>
                    <a:pt x="18" y="5"/>
                    <a:pt x="18" y="8"/>
                  </a:cubicBezTo>
                  <a:cubicBezTo>
                    <a:pt x="11" y="9"/>
                    <a:pt x="9" y="6"/>
                    <a:pt x="4" y="5"/>
                  </a:cubicBezTo>
                  <a:cubicBezTo>
                    <a:pt x="5" y="2"/>
                    <a:pt x="0" y="5"/>
                    <a:pt x="2"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7" name="Freeform 29"/>
            <p:cNvSpPr/>
            <p:nvPr/>
          </p:nvSpPr>
          <p:spPr bwMode="auto">
            <a:xfrm>
              <a:off x="8888002" y="1447649"/>
              <a:ext cx="111125" cy="90487"/>
            </a:xfrm>
            <a:custGeom>
              <a:avLst/>
              <a:gdLst>
                <a:gd name="T0" fmla="*/ 23 w 30"/>
                <a:gd name="T1" fmla="*/ 12 h 24"/>
                <a:gd name="T2" fmla="*/ 23 w 30"/>
                <a:gd name="T3" fmla="*/ 7 h 24"/>
                <a:gd name="T4" fmla="*/ 54 w 30"/>
                <a:gd name="T5" fmla="*/ 0 h 24"/>
                <a:gd name="T6" fmla="*/ 58 w 30"/>
                <a:gd name="T7" fmla="*/ 12 h 24"/>
                <a:gd name="T8" fmla="*/ 54 w 30"/>
                <a:gd name="T9" fmla="*/ 19 h 24"/>
                <a:gd name="T10" fmla="*/ 68 w 30"/>
                <a:gd name="T11" fmla="*/ 21 h 24"/>
                <a:gd name="T12" fmla="*/ 70 w 30"/>
                <a:gd name="T13" fmla="*/ 45 h 24"/>
                <a:gd name="T14" fmla="*/ 61 w 30"/>
                <a:gd name="T15" fmla="*/ 45 h 24"/>
                <a:gd name="T16" fmla="*/ 61 w 30"/>
                <a:gd name="T17" fmla="*/ 50 h 24"/>
                <a:gd name="T18" fmla="*/ 54 w 30"/>
                <a:gd name="T19" fmla="*/ 50 h 24"/>
                <a:gd name="T20" fmla="*/ 44 w 30"/>
                <a:gd name="T21" fmla="*/ 55 h 24"/>
                <a:gd name="T22" fmla="*/ 37 w 30"/>
                <a:gd name="T23" fmla="*/ 48 h 24"/>
                <a:gd name="T24" fmla="*/ 28 w 30"/>
                <a:gd name="T25" fmla="*/ 38 h 24"/>
                <a:gd name="T26" fmla="*/ 23 w 30"/>
                <a:gd name="T27" fmla="*/ 33 h 24"/>
                <a:gd name="T28" fmla="*/ 9 w 30"/>
                <a:gd name="T29" fmla="*/ 31 h 24"/>
                <a:gd name="T30" fmla="*/ 0 w 30"/>
                <a:gd name="T31" fmla="*/ 24 h 24"/>
                <a:gd name="T32" fmla="*/ 28 w 30"/>
                <a:gd name="T33" fmla="*/ 29 h 24"/>
                <a:gd name="T34" fmla="*/ 30 w 30"/>
                <a:gd name="T35" fmla="*/ 17 h 24"/>
                <a:gd name="T36" fmla="*/ 21 w 30"/>
                <a:gd name="T37" fmla="*/ 7 h 24"/>
                <a:gd name="T38" fmla="*/ 23 w 30"/>
                <a:gd name="T39" fmla="*/ 12 h 2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0" h="24">
                  <a:moveTo>
                    <a:pt x="10" y="5"/>
                  </a:moveTo>
                  <a:cubicBezTo>
                    <a:pt x="11" y="4"/>
                    <a:pt x="11" y="3"/>
                    <a:pt x="10" y="3"/>
                  </a:cubicBezTo>
                  <a:cubicBezTo>
                    <a:pt x="13" y="1"/>
                    <a:pt x="21" y="4"/>
                    <a:pt x="23" y="0"/>
                  </a:cubicBezTo>
                  <a:cubicBezTo>
                    <a:pt x="24" y="1"/>
                    <a:pt x="25" y="2"/>
                    <a:pt x="25" y="5"/>
                  </a:cubicBezTo>
                  <a:cubicBezTo>
                    <a:pt x="26" y="7"/>
                    <a:pt x="23" y="6"/>
                    <a:pt x="23" y="8"/>
                  </a:cubicBezTo>
                  <a:cubicBezTo>
                    <a:pt x="24" y="12"/>
                    <a:pt x="26" y="10"/>
                    <a:pt x="29" y="9"/>
                  </a:cubicBezTo>
                  <a:cubicBezTo>
                    <a:pt x="30" y="14"/>
                    <a:pt x="29" y="14"/>
                    <a:pt x="30" y="19"/>
                  </a:cubicBezTo>
                  <a:cubicBezTo>
                    <a:pt x="29" y="19"/>
                    <a:pt x="27" y="18"/>
                    <a:pt x="26" y="19"/>
                  </a:cubicBezTo>
                  <a:cubicBezTo>
                    <a:pt x="26" y="19"/>
                    <a:pt x="27" y="21"/>
                    <a:pt x="26" y="21"/>
                  </a:cubicBezTo>
                  <a:cubicBezTo>
                    <a:pt x="25" y="22"/>
                    <a:pt x="24" y="21"/>
                    <a:pt x="23" y="21"/>
                  </a:cubicBezTo>
                  <a:cubicBezTo>
                    <a:pt x="21" y="21"/>
                    <a:pt x="21" y="23"/>
                    <a:pt x="19" y="23"/>
                  </a:cubicBezTo>
                  <a:cubicBezTo>
                    <a:pt x="17" y="24"/>
                    <a:pt x="17" y="21"/>
                    <a:pt x="16" y="20"/>
                  </a:cubicBezTo>
                  <a:cubicBezTo>
                    <a:pt x="15" y="19"/>
                    <a:pt x="11" y="19"/>
                    <a:pt x="12" y="16"/>
                  </a:cubicBezTo>
                  <a:cubicBezTo>
                    <a:pt x="10" y="17"/>
                    <a:pt x="10" y="15"/>
                    <a:pt x="10" y="14"/>
                  </a:cubicBezTo>
                  <a:cubicBezTo>
                    <a:pt x="8" y="15"/>
                    <a:pt x="6" y="14"/>
                    <a:pt x="4" y="13"/>
                  </a:cubicBezTo>
                  <a:cubicBezTo>
                    <a:pt x="2" y="12"/>
                    <a:pt x="0" y="13"/>
                    <a:pt x="0" y="10"/>
                  </a:cubicBezTo>
                  <a:cubicBezTo>
                    <a:pt x="6" y="10"/>
                    <a:pt x="7" y="12"/>
                    <a:pt x="12" y="12"/>
                  </a:cubicBezTo>
                  <a:cubicBezTo>
                    <a:pt x="14" y="11"/>
                    <a:pt x="13" y="9"/>
                    <a:pt x="13" y="7"/>
                  </a:cubicBezTo>
                  <a:cubicBezTo>
                    <a:pt x="14" y="4"/>
                    <a:pt x="7" y="8"/>
                    <a:pt x="9" y="3"/>
                  </a:cubicBezTo>
                  <a:cubicBezTo>
                    <a:pt x="10" y="3"/>
                    <a:pt x="10" y="4"/>
                    <a:pt x="10"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8" name="Freeform 30"/>
            <p:cNvSpPr/>
            <p:nvPr/>
          </p:nvSpPr>
          <p:spPr bwMode="auto">
            <a:xfrm>
              <a:off x="9284877" y="1455587"/>
              <a:ext cx="68263" cy="30162"/>
            </a:xfrm>
            <a:custGeom>
              <a:avLst/>
              <a:gdLst>
                <a:gd name="T0" fmla="*/ 0 w 18"/>
                <a:gd name="T1" fmla="*/ 2 h 8"/>
                <a:gd name="T2" fmla="*/ 12 w 18"/>
                <a:gd name="T3" fmla="*/ 0 h 8"/>
                <a:gd name="T4" fmla="*/ 43 w 18"/>
                <a:gd name="T5" fmla="*/ 10 h 8"/>
                <a:gd name="T6" fmla="*/ 41 w 18"/>
                <a:gd name="T7" fmla="*/ 19 h 8"/>
                <a:gd name="T8" fmla="*/ 10 w 18"/>
                <a:gd name="T9" fmla="*/ 10 h 8"/>
                <a:gd name="T10" fmla="*/ 0 w 18"/>
                <a:gd name="T11" fmla="*/ 2 h 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8">
                  <a:moveTo>
                    <a:pt x="0" y="1"/>
                  </a:moveTo>
                  <a:cubicBezTo>
                    <a:pt x="1" y="0"/>
                    <a:pt x="3" y="0"/>
                    <a:pt x="5" y="0"/>
                  </a:cubicBezTo>
                  <a:cubicBezTo>
                    <a:pt x="9" y="1"/>
                    <a:pt x="14" y="3"/>
                    <a:pt x="18" y="4"/>
                  </a:cubicBezTo>
                  <a:cubicBezTo>
                    <a:pt x="18" y="6"/>
                    <a:pt x="17" y="6"/>
                    <a:pt x="17" y="8"/>
                  </a:cubicBezTo>
                  <a:cubicBezTo>
                    <a:pt x="10" y="8"/>
                    <a:pt x="8" y="7"/>
                    <a:pt x="4" y="4"/>
                  </a:cubicBezTo>
                  <a:cubicBezTo>
                    <a:pt x="3" y="3"/>
                    <a:pt x="3" y="1"/>
                    <a:pt x="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29" name="Freeform 31"/>
            <p:cNvSpPr/>
            <p:nvPr/>
          </p:nvSpPr>
          <p:spPr bwMode="auto">
            <a:xfrm>
              <a:off x="6601175" y="1453282"/>
              <a:ext cx="44450" cy="19050"/>
            </a:xfrm>
            <a:custGeom>
              <a:avLst/>
              <a:gdLst>
                <a:gd name="T0" fmla="*/ 28 w 12"/>
                <a:gd name="T1" fmla="*/ 10 h 5"/>
                <a:gd name="T2" fmla="*/ 0 w 12"/>
                <a:gd name="T3" fmla="*/ 7 h 5"/>
                <a:gd name="T4" fmla="*/ 9 w 12"/>
                <a:gd name="T5" fmla="*/ 0 h 5"/>
                <a:gd name="T6" fmla="*/ 28 w 12"/>
                <a:gd name="T7" fmla="*/ 1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 h="5">
                  <a:moveTo>
                    <a:pt x="12" y="4"/>
                  </a:moveTo>
                  <a:cubicBezTo>
                    <a:pt x="11" y="5"/>
                    <a:pt x="3" y="4"/>
                    <a:pt x="0" y="3"/>
                  </a:cubicBezTo>
                  <a:cubicBezTo>
                    <a:pt x="1" y="1"/>
                    <a:pt x="4" y="2"/>
                    <a:pt x="4" y="0"/>
                  </a:cubicBezTo>
                  <a:cubicBezTo>
                    <a:pt x="7" y="1"/>
                    <a:pt x="12" y="0"/>
                    <a:pt x="12"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0" name="Freeform 32"/>
            <p:cNvSpPr/>
            <p:nvPr/>
          </p:nvSpPr>
          <p:spPr bwMode="auto">
            <a:xfrm>
              <a:off x="9772239" y="1552424"/>
              <a:ext cx="38100" cy="23812"/>
            </a:xfrm>
            <a:custGeom>
              <a:avLst/>
              <a:gdLst>
                <a:gd name="T0" fmla="*/ 22 w 10"/>
                <a:gd name="T1" fmla="*/ 13 h 6"/>
                <a:gd name="T2" fmla="*/ 0 w 10"/>
                <a:gd name="T3" fmla="*/ 5 h 6"/>
                <a:gd name="T4" fmla="*/ 22 w 10"/>
                <a:gd name="T5" fmla="*/ 13 h 6"/>
                <a:gd name="T6" fmla="*/ 0 60000 65536"/>
                <a:gd name="T7" fmla="*/ 0 60000 65536"/>
                <a:gd name="T8" fmla="*/ 0 60000 65536"/>
              </a:gdLst>
              <a:ahLst/>
              <a:cxnLst>
                <a:cxn ang="T6">
                  <a:pos x="T0" y="T1"/>
                </a:cxn>
                <a:cxn ang="T7">
                  <a:pos x="T2" y="T3"/>
                </a:cxn>
                <a:cxn ang="T8">
                  <a:pos x="T4" y="T5"/>
                </a:cxn>
              </a:cxnLst>
              <a:rect l="0" t="0" r="r" b="b"/>
              <a:pathLst>
                <a:path w="10" h="6">
                  <a:moveTo>
                    <a:pt x="9" y="5"/>
                  </a:moveTo>
                  <a:cubicBezTo>
                    <a:pt x="4" y="6"/>
                    <a:pt x="5" y="2"/>
                    <a:pt x="0" y="2"/>
                  </a:cubicBezTo>
                  <a:cubicBezTo>
                    <a:pt x="2" y="0"/>
                    <a:pt x="10" y="1"/>
                    <a:pt x="9"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1" name="Freeform 33"/>
            <p:cNvSpPr/>
            <p:nvPr/>
          </p:nvSpPr>
          <p:spPr bwMode="auto">
            <a:xfrm>
              <a:off x="9746839" y="1579412"/>
              <a:ext cx="52388" cy="25400"/>
            </a:xfrm>
            <a:custGeom>
              <a:avLst/>
              <a:gdLst>
                <a:gd name="T0" fmla="*/ 33 w 14"/>
                <a:gd name="T1" fmla="*/ 9 h 7"/>
                <a:gd name="T2" fmla="*/ 5 w 14"/>
                <a:gd name="T3" fmla="*/ 9 h 7"/>
                <a:gd name="T4" fmla="*/ 14 w 14"/>
                <a:gd name="T5" fmla="*/ 0 h 7"/>
                <a:gd name="T6" fmla="*/ 33 w 14"/>
                <a:gd name="T7" fmla="*/ 9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7">
                  <a:moveTo>
                    <a:pt x="14" y="4"/>
                  </a:moveTo>
                  <a:cubicBezTo>
                    <a:pt x="13" y="7"/>
                    <a:pt x="4" y="7"/>
                    <a:pt x="2" y="4"/>
                  </a:cubicBezTo>
                  <a:cubicBezTo>
                    <a:pt x="0" y="0"/>
                    <a:pt x="6" y="3"/>
                    <a:pt x="6" y="0"/>
                  </a:cubicBezTo>
                  <a:cubicBezTo>
                    <a:pt x="8" y="2"/>
                    <a:pt x="10" y="3"/>
                    <a:pt x="14"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2" name="Freeform 34"/>
            <p:cNvSpPr/>
            <p:nvPr/>
          </p:nvSpPr>
          <p:spPr bwMode="auto">
            <a:xfrm>
              <a:off x="4935888" y="1596157"/>
              <a:ext cx="33338" cy="25400"/>
            </a:xfrm>
            <a:custGeom>
              <a:avLst/>
              <a:gdLst>
                <a:gd name="T0" fmla="*/ 9 w 9"/>
                <a:gd name="T1" fmla="*/ 0 h 7"/>
                <a:gd name="T2" fmla="*/ 21 w 9"/>
                <a:gd name="T3" fmla="*/ 11 h 7"/>
                <a:gd name="T4" fmla="*/ 7 w 9"/>
                <a:gd name="T5" fmla="*/ 16 h 7"/>
                <a:gd name="T6" fmla="*/ 5 w 9"/>
                <a:gd name="T7" fmla="*/ 2 h 7"/>
                <a:gd name="T8" fmla="*/ 9 w 9"/>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9" h="7">
                  <a:moveTo>
                    <a:pt x="4" y="0"/>
                  </a:moveTo>
                  <a:cubicBezTo>
                    <a:pt x="7" y="0"/>
                    <a:pt x="9" y="2"/>
                    <a:pt x="9" y="5"/>
                  </a:cubicBezTo>
                  <a:cubicBezTo>
                    <a:pt x="6" y="4"/>
                    <a:pt x="3" y="4"/>
                    <a:pt x="3" y="7"/>
                  </a:cubicBezTo>
                  <a:cubicBezTo>
                    <a:pt x="0" y="7"/>
                    <a:pt x="2" y="3"/>
                    <a:pt x="2" y="1"/>
                  </a:cubicBezTo>
                  <a:cubicBezTo>
                    <a:pt x="3" y="1"/>
                    <a:pt x="4" y="1"/>
                    <a:pt x="4"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3" name="Freeform 35"/>
            <p:cNvSpPr/>
            <p:nvPr/>
          </p:nvSpPr>
          <p:spPr bwMode="auto">
            <a:xfrm>
              <a:off x="8786402" y="1612749"/>
              <a:ext cx="33338" cy="26987"/>
            </a:xfrm>
            <a:custGeom>
              <a:avLst/>
              <a:gdLst>
                <a:gd name="T0" fmla="*/ 21 w 9"/>
                <a:gd name="T1" fmla="*/ 12 h 7"/>
                <a:gd name="T2" fmla="*/ 0 w 9"/>
                <a:gd name="T3" fmla="*/ 17 h 7"/>
                <a:gd name="T4" fmla="*/ 21 w 9"/>
                <a:gd name="T5" fmla="*/ 12 h 7"/>
                <a:gd name="T6" fmla="*/ 0 60000 65536"/>
                <a:gd name="T7" fmla="*/ 0 60000 65536"/>
                <a:gd name="T8" fmla="*/ 0 60000 65536"/>
              </a:gdLst>
              <a:ahLst/>
              <a:cxnLst>
                <a:cxn ang="T6">
                  <a:pos x="T0" y="T1"/>
                </a:cxn>
                <a:cxn ang="T7">
                  <a:pos x="T2" y="T3"/>
                </a:cxn>
                <a:cxn ang="T8">
                  <a:pos x="T4" y="T5"/>
                </a:cxn>
              </a:cxnLst>
              <a:rect l="0" t="0" r="r" b="b"/>
              <a:pathLst>
                <a:path w="9" h="7">
                  <a:moveTo>
                    <a:pt x="9" y="5"/>
                  </a:moveTo>
                  <a:cubicBezTo>
                    <a:pt x="5" y="5"/>
                    <a:pt x="3" y="6"/>
                    <a:pt x="0" y="7"/>
                  </a:cubicBezTo>
                  <a:cubicBezTo>
                    <a:pt x="1" y="4"/>
                    <a:pt x="9" y="0"/>
                    <a:pt x="9"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4" name="Freeform 36"/>
            <p:cNvSpPr/>
            <p:nvPr/>
          </p:nvSpPr>
          <p:spPr bwMode="auto">
            <a:xfrm>
              <a:off x="9340439" y="1631799"/>
              <a:ext cx="57150" cy="33337"/>
            </a:xfrm>
            <a:custGeom>
              <a:avLst/>
              <a:gdLst>
                <a:gd name="T0" fmla="*/ 29 w 15"/>
                <a:gd name="T1" fmla="*/ 5 h 9"/>
                <a:gd name="T2" fmla="*/ 34 w 15"/>
                <a:gd name="T3" fmla="*/ 21 h 9"/>
                <a:gd name="T4" fmla="*/ 5 w 15"/>
                <a:gd name="T5" fmla="*/ 14 h 9"/>
                <a:gd name="T6" fmla="*/ 10 w 15"/>
                <a:gd name="T7" fmla="*/ 5 h 9"/>
                <a:gd name="T8" fmla="*/ 29 w 15"/>
                <a:gd name="T9" fmla="*/ 5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 h="9">
                  <a:moveTo>
                    <a:pt x="12" y="2"/>
                  </a:moveTo>
                  <a:cubicBezTo>
                    <a:pt x="14" y="3"/>
                    <a:pt x="15" y="7"/>
                    <a:pt x="14" y="9"/>
                  </a:cubicBezTo>
                  <a:cubicBezTo>
                    <a:pt x="9" y="8"/>
                    <a:pt x="3" y="9"/>
                    <a:pt x="2" y="6"/>
                  </a:cubicBezTo>
                  <a:cubicBezTo>
                    <a:pt x="0" y="2"/>
                    <a:pt x="6" y="5"/>
                    <a:pt x="4" y="2"/>
                  </a:cubicBezTo>
                  <a:cubicBezTo>
                    <a:pt x="8" y="0"/>
                    <a:pt x="12" y="3"/>
                    <a:pt x="12"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5" name="Freeform 37"/>
            <p:cNvSpPr/>
            <p:nvPr/>
          </p:nvSpPr>
          <p:spPr bwMode="auto">
            <a:xfrm>
              <a:off x="9322977" y="1725462"/>
              <a:ext cx="66675" cy="30162"/>
            </a:xfrm>
            <a:custGeom>
              <a:avLst/>
              <a:gdLst>
                <a:gd name="T0" fmla="*/ 37 w 18"/>
                <a:gd name="T1" fmla="*/ 10 h 8"/>
                <a:gd name="T2" fmla="*/ 28 w 18"/>
                <a:gd name="T3" fmla="*/ 14 h 8"/>
                <a:gd name="T4" fmla="*/ 16 w 18"/>
                <a:gd name="T5" fmla="*/ 17 h 8"/>
                <a:gd name="T6" fmla="*/ 5 w 18"/>
                <a:gd name="T7" fmla="*/ 14 h 8"/>
                <a:gd name="T8" fmla="*/ 7 w 18"/>
                <a:gd name="T9" fmla="*/ 5 h 8"/>
                <a:gd name="T10" fmla="*/ 16 w 18"/>
                <a:gd name="T11" fmla="*/ 0 h 8"/>
                <a:gd name="T12" fmla="*/ 37 w 18"/>
                <a:gd name="T13" fmla="*/ 10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 h="8">
                  <a:moveTo>
                    <a:pt x="16" y="4"/>
                  </a:moveTo>
                  <a:cubicBezTo>
                    <a:pt x="18" y="7"/>
                    <a:pt x="13" y="6"/>
                    <a:pt x="12" y="6"/>
                  </a:cubicBezTo>
                  <a:cubicBezTo>
                    <a:pt x="11" y="6"/>
                    <a:pt x="8" y="8"/>
                    <a:pt x="7" y="7"/>
                  </a:cubicBezTo>
                  <a:cubicBezTo>
                    <a:pt x="6" y="6"/>
                    <a:pt x="4" y="7"/>
                    <a:pt x="2" y="6"/>
                  </a:cubicBezTo>
                  <a:cubicBezTo>
                    <a:pt x="0" y="3"/>
                    <a:pt x="7" y="4"/>
                    <a:pt x="3" y="2"/>
                  </a:cubicBezTo>
                  <a:cubicBezTo>
                    <a:pt x="4" y="1"/>
                    <a:pt x="7" y="2"/>
                    <a:pt x="7" y="0"/>
                  </a:cubicBezTo>
                  <a:cubicBezTo>
                    <a:pt x="10" y="1"/>
                    <a:pt x="14" y="2"/>
                    <a:pt x="16"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6" name="Freeform 38"/>
            <p:cNvSpPr/>
            <p:nvPr/>
          </p:nvSpPr>
          <p:spPr bwMode="auto">
            <a:xfrm>
              <a:off x="9322977" y="1774674"/>
              <a:ext cx="33338" cy="14287"/>
            </a:xfrm>
            <a:custGeom>
              <a:avLst/>
              <a:gdLst>
                <a:gd name="T0" fmla="*/ 16 w 9"/>
                <a:gd name="T1" fmla="*/ 9 h 4"/>
                <a:gd name="T2" fmla="*/ 5 w 9"/>
                <a:gd name="T3" fmla="*/ 9 h 4"/>
                <a:gd name="T4" fmla="*/ 16 w 9"/>
                <a:gd name="T5" fmla="*/ 9 h 4"/>
                <a:gd name="T6" fmla="*/ 0 60000 65536"/>
                <a:gd name="T7" fmla="*/ 0 60000 65536"/>
                <a:gd name="T8" fmla="*/ 0 60000 65536"/>
              </a:gdLst>
              <a:ahLst/>
              <a:cxnLst>
                <a:cxn ang="T6">
                  <a:pos x="T0" y="T1"/>
                </a:cxn>
                <a:cxn ang="T7">
                  <a:pos x="T2" y="T3"/>
                </a:cxn>
                <a:cxn ang="T8">
                  <a:pos x="T4" y="T5"/>
                </a:cxn>
              </a:cxnLst>
              <a:rect l="0" t="0" r="r" b="b"/>
              <a:pathLst>
                <a:path w="9" h="4">
                  <a:moveTo>
                    <a:pt x="7" y="4"/>
                  </a:moveTo>
                  <a:cubicBezTo>
                    <a:pt x="5" y="2"/>
                    <a:pt x="5" y="4"/>
                    <a:pt x="2" y="4"/>
                  </a:cubicBezTo>
                  <a:cubicBezTo>
                    <a:pt x="0" y="0"/>
                    <a:pt x="9" y="0"/>
                    <a:pt x="7"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7" name="Freeform 39"/>
            <p:cNvSpPr/>
            <p:nvPr/>
          </p:nvSpPr>
          <p:spPr bwMode="auto">
            <a:xfrm>
              <a:off x="9224552" y="1793724"/>
              <a:ext cx="38100" cy="22225"/>
            </a:xfrm>
            <a:custGeom>
              <a:avLst/>
              <a:gdLst>
                <a:gd name="T0" fmla="*/ 19 w 10"/>
                <a:gd name="T1" fmla="*/ 2 h 6"/>
                <a:gd name="T2" fmla="*/ 22 w 10"/>
                <a:gd name="T3" fmla="*/ 7 h 6"/>
                <a:gd name="T4" fmla="*/ 12 w 10"/>
                <a:gd name="T5" fmla="*/ 9 h 6"/>
                <a:gd name="T6" fmla="*/ 0 w 10"/>
                <a:gd name="T7" fmla="*/ 9 h 6"/>
                <a:gd name="T8" fmla="*/ 19 w 10"/>
                <a:gd name="T9" fmla="*/ 2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6">
                  <a:moveTo>
                    <a:pt x="8" y="1"/>
                  </a:moveTo>
                  <a:cubicBezTo>
                    <a:pt x="8" y="2"/>
                    <a:pt x="8" y="3"/>
                    <a:pt x="9" y="3"/>
                  </a:cubicBezTo>
                  <a:cubicBezTo>
                    <a:pt x="10" y="5"/>
                    <a:pt x="5" y="3"/>
                    <a:pt x="5" y="4"/>
                  </a:cubicBezTo>
                  <a:cubicBezTo>
                    <a:pt x="3" y="6"/>
                    <a:pt x="4" y="4"/>
                    <a:pt x="0" y="4"/>
                  </a:cubicBezTo>
                  <a:cubicBezTo>
                    <a:pt x="2" y="3"/>
                    <a:pt x="4" y="0"/>
                    <a:pt x="8"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8" name="Freeform 40"/>
            <p:cNvSpPr/>
            <p:nvPr/>
          </p:nvSpPr>
          <p:spPr bwMode="auto">
            <a:xfrm>
              <a:off x="9292814" y="1815949"/>
              <a:ext cx="11113" cy="22225"/>
            </a:xfrm>
            <a:custGeom>
              <a:avLst/>
              <a:gdLst>
                <a:gd name="T0" fmla="*/ 2 w 3"/>
                <a:gd name="T1" fmla="*/ 0 h 6"/>
                <a:gd name="T2" fmla="*/ 7 w 3"/>
                <a:gd name="T3" fmla="*/ 9 h 6"/>
                <a:gd name="T4" fmla="*/ 2 w 3"/>
                <a:gd name="T5" fmla="*/ 0 h 6"/>
                <a:gd name="T6" fmla="*/ 0 60000 65536"/>
                <a:gd name="T7" fmla="*/ 0 60000 65536"/>
                <a:gd name="T8" fmla="*/ 0 60000 65536"/>
              </a:gdLst>
              <a:ahLst/>
              <a:cxnLst>
                <a:cxn ang="T6">
                  <a:pos x="T0" y="T1"/>
                </a:cxn>
                <a:cxn ang="T7">
                  <a:pos x="T2" y="T3"/>
                </a:cxn>
                <a:cxn ang="T8">
                  <a:pos x="T4" y="T5"/>
                </a:cxn>
              </a:cxnLst>
              <a:rect l="0" t="0" r="r" b="b"/>
              <a:pathLst>
                <a:path w="3" h="6">
                  <a:moveTo>
                    <a:pt x="1" y="0"/>
                  </a:moveTo>
                  <a:cubicBezTo>
                    <a:pt x="3" y="0"/>
                    <a:pt x="3" y="2"/>
                    <a:pt x="3" y="4"/>
                  </a:cubicBezTo>
                  <a:cubicBezTo>
                    <a:pt x="0" y="6"/>
                    <a:pt x="1" y="2"/>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39" name="Freeform 41"/>
            <p:cNvSpPr/>
            <p:nvPr/>
          </p:nvSpPr>
          <p:spPr bwMode="auto">
            <a:xfrm>
              <a:off x="3889725" y="1996207"/>
              <a:ext cx="79375" cy="95250"/>
            </a:xfrm>
            <a:custGeom>
              <a:avLst/>
              <a:gdLst>
                <a:gd name="T0" fmla="*/ 19 w 21"/>
                <a:gd name="T1" fmla="*/ 0 h 25"/>
                <a:gd name="T2" fmla="*/ 21 w 21"/>
                <a:gd name="T3" fmla="*/ 2 h 25"/>
                <a:gd name="T4" fmla="*/ 40 w 21"/>
                <a:gd name="T5" fmla="*/ 2 h 25"/>
                <a:gd name="T6" fmla="*/ 50 w 21"/>
                <a:gd name="T7" fmla="*/ 10 h 25"/>
                <a:gd name="T8" fmla="*/ 45 w 21"/>
                <a:gd name="T9" fmla="*/ 14 h 25"/>
                <a:gd name="T10" fmla="*/ 40 w 21"/>
                <a:gd name="T11" fmla="*/ 17 h 25"/>
                <a:gd name="T12" fmla="*/ 45 w 21"/>
                <a:gd name="T13" fmla="*/ 31 h 25"/>
                <a:gd name="T14" fmla="*/ 43 w 21"/>
                <a:gd name="T15" fmla="*/ 46 h 25"/>
                <a:gd name="T16" fmla="*/ 29 w 21"/>
                <a:gd name="T17" fmla="*/ 46 h 25"/>
                <a:gd name="T18" fmla="*/ 26 w 21"/>
                <a:gd name="T19" fmla="*/ 53 h 25"/>
                <a:gd name="T20" fmla="*/ 21 w 21"/>
                <a:gd name="T21" fmla="*/ 60 h 25"/>
                <a:gd name="T22" fmla="*/ 5 w 21"/>
                <a:gd name="T23" fmla="*/ 60 h 25"/>
                <a:gd name="T24" fmla="*/ 10 w 21"/>
                <a:gd name="T25" fmla="*/ 43 h 25"/>
                <a:gd name="T26" fmla="*/ 10 w 21"/>
                <a:gd name="T27" fmla="*/ 31 h 25"/>
                <a:gd name="T28" fmla="*/ 5 w 21"/>
                <a:gd name="T29" fmla="*/ 17 h 25"/>
                <a:gd name="T30" fmla="*/ 14 w 21"/>
                <a:gd name="T31" fmla="*/ 19 h 25"/>
                <a:gd name="T32" fmla="*/ 19 w 21"/>
                <a:gd name="T33" fmla="*/ 0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 h="25">
                  <a:moveTo>
                    <a:pt x="8" y="0"/>
                  </a:moveTo>
                  <a:cubicBezTo>
                    <a:pt x="9" y="0"/>
                    <a:pt x="9" y="1"/>
                    <a:pt x="9" y="1"/>
                  </a:cubicBezTo>
                  <a:cubicBezTo>
                    <a:pt x="9" y="3"/>
                    <a:pt x="14" y="0"/>
                    <a:pt x="17" y="1"/>
                  </a:cubicBezTo>
                  <a:cubicBezTo>
                    <a:pt x="17" y="3"/>
                    <a:pt x="18" y="4"/>
                    <a:pt x="21" y="4"/>
                  </a:cubicBezTo>
                  <a:cubicBezTo>
                    <a:pt x="21" y="5"/>
                    <a:pt x="20" y="6"/>
                    <a:pt x="19" y="6"/>
                  </a:cubicBezTo>
                  <a:cubicBezTo>
                    <a:pt x="19" y="7"/>
                    <a:pt x="18" y="7"/>
                    <a:pt x="17" y="7"/>
                  </a:cubicBezTo>
                  <a:cubicBezTo>
                    <a:pt x="17" y="10"/>
                    <a:pt x="19" y="10"/>
                    <a:pt x="19" y="13"/>
                  </a:cubicBezTo>
                  <a:cubicBezTo>
                    <a:pt x="19" y="15"/>
                    <a:pt x="18" y="16"/>
                    <a:pt x="18" y="19"/>
                  </a:cubicBezTo>
                  <a:cubicBezTo>
                    <a:pt x="16" y="19"/>
                    <a:pt x="14" y="19"/>
                    <a:pt x="12" y="19"/>
                  </a:cubicBezTo>
                  <a:cubicBezTo>
                    <a:pt x="11" y="19"/>
                    <a:pt x="12" y="21"/>
                    <a:pt x="11" y="22"/>
                  </a:cubicBezTo>
                  <a:cubicBezTo>
                    <a:pt x="11" y="23"/>
                    <a:pt x="8" y="23"/>
                    <a:pt x="9" y="25"/>
                  </a:cubicBezTo>
                  <a:cubicBezTo>
                    <a:pt x="6" y="25"/>
                    <a:pt x="4" y="25"/>
                    <a:pt x="2" y="25"/>
                  </a:cubicBezTo>
                  <a:cubicBezTo>
                    <a:pt x="2" y="22"/>
                    <a:pt x="0" y="17"/>
                    <a:pt x="4" y="18"/>
                  </a:cubicBezTo>
                  <a:cubicBezTo>
                    <a:pt x="4" y="14"/>
                    <a:pt x="2" y="15"/>
                    <a:pt x="4" y="13"/>
                  </a:cubicBezTo>
                  <a:cubicBezTo>
                    <a:pt x="5" y="9"/>
                    <a:pt x="1" y="11"/>
                    <a:pt x="2" y="7"/>
                  </a:cubicBezTo>
                  <a:cubicBezTo>
                    <a:pt x="4" y="7"/>
                    <a:pt x="5" y="8"/>
                    <a:pt x="6" y="8"/>
                  </a:cubicBezTo>
                  <a:cubicBezTo>
                    <a:pt x="9" y="8"/>
                    <a:pt x="7" y="2"/>
                    <a:pt x="8"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0" name="Freeform 42"/>
            <p:cNvSpPr/>
            <p:nvPr/>
          </p:nvSpPr>
          <p:spPr bwMode="auto">
            <a:xfrm>
              <a:off x="7773577" y="2003274"/>
              <a:ext cx="22225" cy="22225"/>
            </a:xfrm>
            <a:custGeom>
              <a:avLst/>
              <a:gdLst>
                <a:gd name="T0" fmla="*/ 12 w 6"/>
                <a:gd name="T1" fmla="*/ 0 h 6"/>
                <a:gd name="T2" fmla="*/ 9 w 6"/>
                <a:gd name="T3" fmla="*/ 7 h 6"/>
                <a:gd name="T4" fmla="*/ 0 w 6"/>
                <a:gd name="T5" fmla="*/ 9 h 6"/>
                <a:gd name="T6" fmla="*/ 12 w 6"/>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6">
                  <a:moveTo>
                    <a:pt x="5" y="0"/>
                  </a:moveTo>
                  <a:cubicBezTo>
                    <a:pt x="6" y="2"/>
                    <a:pt x="5" y="2"/>
                    <a:pt x="4" y="3"/>
                  </a:cubicBezTo>
                  <a:cubicBezTo>
                    <a:pt x="3" y="5"/>
                    <a:pt x="2" y="6"/>
                    <a:pt x="0" y="4"/>
                  </a:cubicBezTo>
                  <a:cubicBezTo>
                    <a:pt x="0" y="1"/>
                    <a:pt x="3" y="1"/>
                    <a:pt x="5"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1" name="Freeform 43"/>
            <p:cNvSpPr/>
            <p:nvPr/>
          </p:nvSpPr>
          <p:spPr bwMode="auto">
            <a:xfrm>
              <a:off x="8346664" y="2022324"/>
              <a:ext cx="30163" cy="44450"/>
            </a:xfrm>
            <a:custGeom>
              <a:avLst/>
              <a:gdLst>
                <a:gd name="T0" fmla="*/ 5 w 8"/>
                <a:gd name="T1" fmla="*/ 0 h 12"/>
                <a:gd name="T2" fmla="*/ 19 w 8"/>
                <a:gd name="T3" fmla="*/ 19 h 12"/>
                <a:gd name="T4" fmla="*/ 7 w 8"/>
                <a:gd name="T5" fmla="*/ 14 h 12"/>
                <a:gd name="T6" fmla="*/ 5 w 8"/>
                <a:gd name="T7" fmla="*/ 0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2">
                  <a:moveTo>
                    <a:pt x="2" y="0"/>
                  </a:moveTo>
                  <a:cubicBezTo>
                    <a:pt x="4" y="2"/>
                    <a:pt x="5" y="7"/>
                    <a:pt x="8" y="8"/>
                  </a:cubicBezTo>
                  <a:cubicBezTo>
                    <a:pt x="6" y="12"/>
                    <a:pt x="3" y="8"/>
                    <a:pt x="3" y="6"/>
                  </a:cubicBezTo>
                  <a:cubicBezTo>
                    <a:pt x="0" y="6"/>
                    <a:pt x="0" y="1"/>
                    <a:pt x="2"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2" name="Freeform 44"/>
            <p:cNvSpPr/>
            <p:nvPr/>
          </p:nvSpPr>
          <p:spPr bwMode="auto">
            <a:xfrm>
              <a:off x="6623400" y="2000969"/>
              <a:ext cx="46038" cy="206375"/>
            </a:xfrm>
            <a:custGeom>
              <a:avLst/>
              <a:gdLst>
                <a:gd name="T0" fmla="*/ 10 w 12"/>
                <a:gd name="T1" fmla="*/ 14 h 55"/>
                <a:gd name="T2" fmla="*/ 15 w 12"/>
                <a:gd name="T3" fmla="*/ 33 h 55"/>
                <a:gd name="T4" fmla="*/ 17 w 12"/>
                <a:gd name="T5" fmla="*/ 45 h 55"/>
                <a:gd name="T6" fmla="*/ 17 w 12"/>
                <a:gd name="T7" fmla="*/ 54 h 55"/>
                <a:gd name="T8" fmla="*/ 19 w 12"/>
                <a:gd name="T9" fmla="*/ 76 h 55"/>
                <a:gd name="T10" fmla="*/ 29 w 12"/>
                <a:gd name="T11" fmla="*/ 87 h 55"/>
                <a:gd name="T12" fmla="*/ 17 w 12"/>
                <a:gd name="T13" fmla="*/ 90 h 55"/>
                <a:gd name="T14" fmla="*/ 17 w 12"/>
                <a:gd name="T15" fmla="*/ 109 h 55"/>
                <a:gd name="T16" fmla="*/ 12 w 12"/>
                <a:gd name="T17" fmla="*/ 109 h 55"/>
                <a:gd name="T18" fmla="*/ 17 w 12"/>
                <a:gd name="T19" fmla="*/ 128 h 55"/>
                <a:gd name="T20" fmla="*/ 2 w 12"/>
                <a:gd name="T21" fmla="*/ 125 h 55"/>
                <a:gd name="T22" fmla="*/ 7 w 12"/>
                <a:gd name="T23" fmla="*/ 109 h 55"/>
                <a:gd name="T24" fmla="*/ 0 w 12"/>
                <a:gd name="T25" fmla="*/ 102 h 55"/>
                <a:gd name="T26" fmla="*/ 7 w 12"/>
                <a:gd name="T27" fmla="*/ 66 h 55"/>
                <a:gd name="T28" fmla="*/ 0 w 12"/>
                <a:gd name="T29" fmla="*/ 54 h 55"/>
                <a:gd name="T30" fmla="*/ 0 w 12"/>
                <a:gd name="T31" fmla="*/ 33 h 55"/>
                <a:gd name="T32" fmla="*/ 10 w 12"/>
                <a:gd name="T33" fmla="*/ 26 h 55"/>
                <a:gd name="T34" fmla="*/ 12 w 12"/>
                <a:gd name="T35" fmla="*/ 17 h 55"/>
                <a:gd name="T36" fmla="*/ 10 w 12"/>
                <a:gd name="T37" fmla="*/ 14 h 5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 h="55">
                  <a:moveTo>
                    <a:pt x="4" y="6"/>
                  </a:moveTo>
                  <a:cubicBezTo>
                    <a:pt x="9" y="0"/>
                    <a:pt x="4" y="13"/>
                    <a:pt x="6" y="14"/>
                  </a:cubicBezTo>
                  <a:cubicBezTo>
                    <a:pt x="8" y="16"/>
                    <a:pt x="5" y="16"/>
                    <a:pt x="7" y="19"/>
                  </a:cubicBezTo>
                  <a:cubicBezTo>
                    <a:pt x="9" y="21"/>
                    <a:pt x="7" y="21"/>
                    <a:pt x="7" y="23"/>
                  </a:cubicBezTo>
                  <a:cubicBezTo>
                    <a:pt x="7" y="24"/>
                    <a:pt x="10" y="28"/>
                    <a:pt x="8" y="32"/>
                  </a:cubicBezTo>
                  <a:cubicBezTo>
                    <a:pt x="8" y="35"/>
                    <a:pt x="10" y="36"/>
                    <a:pt x="12" y="37"/>
                  </a:cubicBezTo>
                  <a:cubicBezTo>
                    <a:pt x="12" y="39"/>
                    <a:pt x="9" y="39"/>
                    <a:pt x="7" y="38"/>
                  </a:cubicBezTo>
                  <a:cubicBezTo>
                    <a:pt x="7" y="41"/>
                    <a:pt x="7" y="46"/>
                    <a:pt x="7" y="46"/>
                  </a:cubicBezTo>
                  <a:cubicBezTo>
                    <a:pt x="7" y="46"/>
                    <a:pt x="5" y="46"/>
                    <a:pt x="5" y="46"/>
                  </a:cubicBezTo>
                  <a:cubicBezTo>
                    <a:pt x="5" y="49"/>
                    <a:pt x="8" y="50"/>
                    <a:pt x="7" y="54"/>
                  </a:cubicBezTo>
                  <a:cubicBezTo>
                    <a:pt x="4" y="53"/>
                    <a:pt x="4" y="55"/>
                    <a:pt x="1" y="53"/>
                  </a:cubicBezTo>
                  <a:cubicBezTo>
                    <a:pt x="4" y="50"/>
                    <a:pt x="1" y="50"/>
                    <a:pt x="3" y="46"/>
                  </a:cubicBezTo>
                  <a:cubicBezTo>
                    <a:pt x="3" y="44"/>
                    <a:pt x="2" y="43"/>
                    <a:pt x="0" y="43"/>
                  </a:cubicBezTo>
                  <a:cubicBezTo>
                    <a:pt x="1" y="40"/>
                    <a:pt x="4" y="35"/>
                    <a:pt x="3" y="28"/>
                  </a:cubicBezTo>
                  <a:cubicBezTo>
                    <a:pt x="2" y="26"/>
                    <a:pt x="0" y="25"/>
                    <a:pt x="0" y="23"/>
                  </a:cubicBezTo>
                  <a:cubicBezTo>
                    <a:pt x="0" y="19"/>
                    <a:pt x="3" y="17"/>
                    <a:pt x="0" y="14"/>
                  </a:cubicBezTo>
                  <a:cubicBezTo>
                    <a:pt x="1" y="13"/>
                    <a:pt x="2" y="11"/>
                    <a:pt x="4" y="11"/>
                  </a:cubicBezTo>
                  <a:cubicBezTo>
                    <a:pt x="4" y="9"/>
                    <a:pt x="4" y="7"/>
                    <a:pt x="5" y="7"/>
                  </a:cubicBezTo>
                  <a:cubicBezTo>
                    <a:pt x="5" y="6"/>
                    <a:pt x="4" y="6"/>
                    <a:pt x="4" y="6"/>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3" name="Freeform 45"/>
            <p:cNvSpPr/>
            <p:nvPr/>
          </p:nvSpPr>
          <p:spPr bwMode="auto">
            <a:xfrm>
              <a:off x="7735477" y="2025499"/>
              <a:ext cx="15875" cy="19050"/>
            </a:xfrm>
            <a:custGeom>
              <a:avLst/>
              <a:gdLst>
                <a:gd name="T0" fmla="*/ 3 w 4"/>
                <a:gd name="T1" fmla="*/ 0 h 5"/>
                <a:gd name="T2" fmla="*/ 0 w 4"/>
                <a:gd name="T3" fmla="*/ 10 h 5"/>
                <a:gd name="T4" fmla="*/ 0 w 4"/>
                <a:gd name="T5" fmla="*/ 2 h 5"/>
                <a:gd name="T6" fmla="*/ 3 w 4"/>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 h="5">
                  <a:moveTo>
                    <a:pt x="1" y="0"/>
                  </a:moveTo>
                  <a:cubicBezTo>
                    <a:pt x="4" y="0"/>
                    <a:pt x="3" y="5"/>
                    <a:pt x="0" y="4"/>
                  </a:cubicBezTo>
                  <a:cubicBezTo>
                    <a:pt x="0" y="3"/>
                    <a:pt x="0" y="2"/>
                    <a:pt x="0" y="1"/>
                  </a:cubicBezTo>
                  <a:cubicBezTo>
                    <a:pt x="1" y="2"/>
                    <a:pt x="1" y="1"/>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4" name="Freeform 46"/>
            <p:cNvSpPr/>
            <p:nvPr/>
          </p:nvSpPr>
          <p:spPr bwMode="auto">
            <a:xfrm>
              <a:off x="9667464" y="2096937"/>
              <a:ext cx="131763" cy="112712"/>
            </a:xfrm>
            <a:custGeom>
              <a:avLst/>
              <a:gdLst>
                <a:gd name="T0" fmla="*/ 36 w 35"/>
                <a:gd name="T1" fmla="*/ 0 h 30"/>
                <a:gd name="T2" fmla="*/ 45 w 35"/>
                <a:gd name="T3" fmla="*/ 5 h 30"/>
                <a:gd name="T4" fmla="*/ 40 w 35"/>
                <a:gd name="T5" fmla="*/ 17 h 30"/>
                <a:gd name="T6" fmla="*/ 52 w 35"/>
                <a:gd name="T7" fmla="*/ 21 h 30"/>
                <a:gd name="T8" fmla="*/ 69 w 35"/>
                <a:gd name="T9" fmla="*/ 28 h 30"/>
                <a:gd name="T10" fmla="*/ 66 w 35"/>
                <a:gd name="T11" fmla="*/ 38 h 30"/>
                <a:gd name="T12" fmla="*/ 74 w 35"/>
                <a:gd name="T13" fmla="*/ 43 h 30"/>
                <a:gd name="T14" fmla="*/ 81 w 35"/>
                <a:gd name="T15" fmla="*/ 50 h 30"/>
                <a:gd name="T16" fmla="*/ 74 w 35"/>
                <a:gd name="T17" fmla="*/ 64 h 30"/>
                <a:gd name="T18" fmla="*/ 71 w 35"/>
                <a:gd name="T19" fmla="*/ 59 h 30"/>
                <a:gd name="T20" fmla="*/ 55 w 35"/>
                <a:gd name="T21" fmla="*/ 59 h 30"/>
                <a:gd name="T22" fmla="*/ 45 w 35"/>
                <a:gd name="T23" fmla="*/ 69 h 30"/>
                <a:gd name="T24" fmla="*/ 38 w 35"/>
                <a:gd name="T25" fmla="*/ 62 h 30"/>
                <a:gd name="T26" fmla="*/ 31 w 35"/>
                <a:gd name="T27" fmla="*/ 59 h 30"/>
                <a:gd name="T28" fmla="*/ 19 w 35"/>
                <a:gd name="T29" fmla="*/ 50 h 30"/>
                <a:gd name="T30" fmla="*/ 0 w 35"/>
                <a:gd name="T31" fmla="*/ 52 h 30"/>
                <a:gd name="T32" fmla="*/ 2 w 35"/>
                <a:gd name="T33" fmla="*/ 43 h 30"/>
                <a:gd name="T34" fmla="*/ 14 w 35"/>
                <a:gd name="T35" fmla="*/ 36 h 30"/>
                <a:gd name="T36" fmla="*/ 19 w 35"/>
                <a:gd name="T37" fmla="*/ 26 h 30"/>
                <a:gd name="T38" fmla="*/ 21 w 35"/>
                <a:gd name="T39" fmla="*/ 12 h 30"/>
                <a:gd name="T40" fmla="*/ 26 w 35"/>
                <a:gd name="T41" fmla="*/ 12 h 30"/>
                <a:gd name="T42" fmla="*/ 26 w 35"/>
                <a:gd name="T43" fmla="*/ 5 h 30"/>
                <a:gd name="T44" fmla="*/ 36 w 35"/>
                <a:gd name="T45" fmla="*/ 0 h 3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 h="30">
                  <a:moveTo>
                    <a:pt x="15" y="0"/>
                  </a:moveTo>
                  <a:cubicBezTo>
                    <a:pt x="17" y="0"/>
                    <a:pt x="17" y="2"/>
                    <a:pt x="19" y="2"/>
                  </a:cubicBezTo>
                  <a:cubicBezTo>
                    <a:pt x="18" y="5"/>
                    <a:pt x="15" y="5"/>
                    <a:pt x="17" y="7"/>
                  </a:cubicBezTo>
                  <a:cubicBezTo>
                    <a:pt x="17" y="10"/>
                    <a:pt x="20" y="8"/>
                    <a:pt x="22" y="9"/>
                  </a:cubicBezTo>
                  <a:cubicBezTo>
                    <a:pt x="23" y="10"/>
                    <a:pt x="24" y="13"/>
                    <a:pt x="29" y="12"/>
                  </a:cubicBezTo>
                  <a:cubicBezTo>
                    <a:pt x="29" y="15"/>
                    <a:pt x="31" y="15"/>
                    <a:pt x="28" y="16"/>
                  </a:cubicBezTo>
                  <a:cubicBezTo>
                    <a:pt x="28" y="18"/>
                    <a:pt x="31" y="17"/>
                    <a:pt x="31" y="18"/>
                  </a:cubicBezTo>
                  <a:cubicBezTo>
                    <a:pt x="32" y="18"/>
                    <a:pt x="31" y="22"/>
                    <a:pt x="34" y="21"/>
                  </a:cubicBezTo>
                  <a:cubicBezTo>
                    <a:pt x="35" y="25"/>
                    <a:pt x="31" y="23"/>
                    <a:pt x="31" y="27"/>
                  </a:cubicBezTo>
                  <a:cubicBezTo>
                    <a:pt x="30" y="27"/>
                    <a:pt x="31" y="26"/>
                    <a:pt x="30" y="25"/>
                  </a:cubicBezTo>
                  <a:cubicBezTo>
                    <a:pt x="26" y="25"/>
                    <a:pt x="27" y="26"/>
                    <a:pt x="23" y="25"/>
                  </a:cubicBezTo>
                  <a:cubicBezTo>
                    <a:pt x="22" y="26"/>
                    <a:pt x="18" y="26"/>
                    <a:pt x="19" y="29"/>
                  </a:cubicBezTo>
                  <a:cubicBezTo>
                    <a:pt x="16" y="30"/>
                    <a:pt x="17" y="27"/>
                    <a:pt x="16" y="26"/>
                  </a:cubicBezTo>
                  <a:cubicBezTo>
                    <a:pt x="15" y="25"/>
                    <a:pt x="13" y="25"/>
                    <a:pt x="13" y="25"/>
                  </a:cubicBezTo>
                  <a:cubicBezTo>
                    <a:pt x="12" y="24"/>
                    <a:pt x="11" y="22"/>
                    <a:pt x="8" y="21"/>
                  </a:cubicBezTo>
                  <a:cubicBezTo>
                    <a:pt x="4" y="21"/>
                    <a:pt x="4" y="23"/>
                    <a:pt x="0" y="22"/>
                  </a:cubicBezTo>
                  <a:cubicBezTo>
                    <a:pt x="1" y="21"/>
                    <a:pt x="1" y="20"/>
                    <a:pt x="1" y="18"/>
                  </a:cubicBezTo>
                  <a:cubicBezTo>
                    <a:pt x="5" y="19"/>
                    <a:pt x="2" y="14"/>
                    <a:pt x="6" y="15"/>
                  </a:cubicBezTo>
                  <a:cubicBezTo>
                    <a:pt x="4" y="12"/>
                    <a:pt x="7" y="12"/>
                    <a:pt x="8" y="11"/>
                  </a:cubicBezTo>
                  <a:cubicBezTo>
                    <a:pt x="9" y="9"/>
                    <a:pt x="8" y="7"/>
                    <a:pt x="9" y="5"/>
                  </a:cubicBezTo>
                  <a:cubicBezTo>
                    <a:pt x="9" y="4"/>
                    <a:pt x="11" y="5"/>
                    <a:pt x="11" y="5"/>
                  </a:cubicBezTo>
                  <a:cubicBezTo>
                    <a:pt x="12" y="4"/>
                    <a:pt x="11" y="3"/>
                    <a:pt x="11" y="2"/>
                  </a:cubicBezTo>
                  <a:cubicBezTo>
                    <a:pt x="13" y="1"/>
                    <a:pt x="15" y="2"/>
                    <a:pt x="15"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5" name="Freeform 47"/>
            <p:cNvSpPr/>
            <p:nvPr/>
          </p:nvSpPr>
          <p:spPr bwMode="auto">
            <a:xfrm>
              <a:off x="9596027" y="2130274"/>
              <a:ext cx="30163" cy="30162"/>
            </a:xfrm>
            <a:custGeom>
              <a:avLst/>
              <a:gdLst>
                <a:gd name="T0" fmla="*/ 0 w 8"/>
                <a:gd name="T1" fmla="*/ 0 h 8"/>
                <a:gd name="T2" fmla="*/ 19 w 8"/>
                <a:gd name="T3" fmla="*/ 10 h 8"/>
                <a:gd name="T4" fmla="*/ 0 w 8"/>
                <a:gd name="T5" fmla="*/ 0 h 8"/>
                <a:gd name="T6" fmla="*/ 0 60000 65536"/>
                <a:gd name="T7" fmla="*/ 0 60000 65536"/>
                <a:gd name="T8" fmla="*/ 0 60000 65536"/>
              </a:gdLst>
              <a:ahLst/>
              <a:cxnLst>
                <a:cxn ang="T6">
                  <a:pos x="T0" y="T1"/>
                </a:cxn>
                <a:cxn ang="T7">
                  <a:pos x="T2" y="T3"/>
                </a:cxn>
                <a:cxn ang="T8">
                  <a:pos x="T4" y="T5"/>
                </a:cxn>
              </a:cxnLst>
              <a:rect l="0" t="0" r="r" b="b"/>
              <a:pathLst>
                <a:path w="8" h="8">
                  <a:moveTo>
                    <a:pt x="0" y="0"/>
                  </a:moveTo>
                  <a:cubicBezTo>
                    <a:pt x="4" y="0"/>
                    <a:pt x="4" y="4"/>
                    <a:pt x="8" y="4"/>
                  </a:cubicBezTo>
                  <a:cubicBezTo>
                    <a:pt x="7" y="8"/>
                    <a:pt x="0" y="4"/>
                    <a:pt x="0"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6" name="Freeform 48"/>
            <p:cNvSpPr/>
            <p:nvPr/>
          </p:nvSpPr>
          <p:spPr bwMode="auto">
            <a:xfrm>
              <a:off x="6609113" y="2240682"/>
              <a:ext cx="88900" cy="63500"/>
            </a:xfrm>
            <a:custGeom>
              <a:avLst/>
              <a:gdLst>
                <a:gd name="T0" fmla="*/ 16 w 24"/>
                <a:gd name="T1" fmla="*/ 0 h 17"/>
                <a:gd name="T2" fmla="*/ 19 w 24"/>
                <a:gd name="T3" fmla="*/ 2 h 17"/>
                <a:gd name="T4" fmla="*/ 28 w 24"/>
                <a:gd name="T5" fmla="*/ 14 h 17"/>
                <a:gd name="T6" fmla="*/ 56 w 24"/>
                <a:gd name="T7" fmla="*/ 12 h 17"/>
                <a:gd name="T8" fmla="*/ 47 w 24"/>
                <a:gd name="T9" fmla="*/ 28 h 17"/>
                <a:gd name="T10" fmla="*/ 37 w 24"/>
                <a:gd name="T11" fmla="*/ 24 h 17"/>
                <a:gd name="T12" fmla="*/ 26 w 24"/>
                <a:gd name="T13" fmla="*/ 31 h 17"/>
                <a:gd name="T14" fmla="*/ 23 w 24"/>
                <a:gd name="T15" fmla="*/ 38 h 17"/>
                <a:gd name="T16" fmla="*/ 9 w 24"/>
                <a:gd name="T17" fmla="*/ 33 h 17"/>
                <a:gd name="T18" fmla="*/ 16 w 24"/>
                <a:gd name="T19" fmla="*/ 0 h 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4" h="17">
                  <a:moveTo>
                    <a:pt x="7" y="0"/>
                  </a:moveTo>
                  <a:cubicBezTo>
                    <a:pt x="8" y="0"/>
                    <a:pt x="8" y="0"/>
                    <a:pt x="8" y="1"/>
                  </a:cubicBezTo>
                  <a:cubicBezTo>
                    <a:pt x="8" y="4"/>
                    <a:pt x="12" y="3"/>
                    <a:pt x="12" y="6"/>
                  </a:cubicBezTo>
                  <a:cubicBezTo>
                    <a:pt x="16" y="4"/>
                    <a:pt x="20" y="6"/>
                    <a:pt x="24" y="5"/>
                  </a:cubicBezTo>
                  <a:cubicBezTo>
                    <a:pt x="24" y="8"/>
                    <a:pt x="20" y="8"/>
                    <a:pt x="20" y="12"/>
                  </a:cubicBezTo>
                  <a:cubicBezTo>
                    <a:pt x="18" y="12"/>
                    <a:pt x="18" y="10"/>
                    <a:pt x="16" y="10"/>
                  </a:cubicBezTo>
                  <a:cubicBezTo>
                    <a:pt x="14" y="10"/>
                    <a:pt x="12" y="16"/>
                    <a:pt x="11" y="13"/>
                  </a:cubicBezTo>
                  <a:cubicBezTo>
                    <a:pt x="10" y="13"/>
                    <a:pt x="10" y="15"/>
                    <a:pt x="10" y="16"/>
                  </a:cubicBezTo>
                  <a:cubicBezTo>
                    <a:pt x="7" y="17"/>
                    <a:pt x="7" y="10"/>
                    <a:pt x="4" y="14"/>
                  </a:cubicBezTo>
                  <a:cubicBezTo>
                    <a:pt x="0" y="11"/>
                    <a:pt x="3" y="2"/>
                    <a:pt x="7"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7" name="Freeform 49"/>
            <p:cNvSpPr/>
            <p:nvPr/>
          </p:nvSpPr>
          <p:spPr bwMode="auto">
            <a:xfrm>
              <a:off x="6444013" y="2320057"/>
              <a:ext cx="179388" cy="152400"/>
            </a:xfrm>
            <a:custGeom>
              <a:avLst/>
              <a:gdLst>
                <a:gd name="T0" fmla="*/ 99 w 48"/>
                <a:gd name="T1" fmla="*/ 0 h 41"/>
                <a:gd name="T2" fmla="*/ 108 w 48"/>
                <a:gd name="T3" fmla="*/ 2 h 41"/>
                <a:gd name="T4" fmla="*/ 108 w 48"/>
                <a:gd name="T5" fmla="*/ 44 h 41"/>
                <a:gd name="T6" fmla="*/ 106 w 48"/>
                <a:gd name="T7" fmla="*/ 37 h 41"/>
                <a:gd name="T8" fmla="*/ 106 w 48"/>
                <a:gd name="T9" fmla="*/ 56 h 41"/>
                <a:gd name="T10" fmla="*/ 99 w 48"/>
                <a:gd name="T11" fmla="*/ 52 h 41"/>
                <a:gd name="T12" fmla="*/ 99 w 48"/>
                <a:gd name="T13" fmla="*/ 80 h 41"/>
                <a:gd name="T14" fmla="*/ 94 w 48"/>
                <a:gd name="T15" fmla="*/ 77 h 41"/>
                <a:gd name="T16" fmla="*/ 85 w 48"/>
                <a:gd name="T17" fmla="*/ 82 h 41"/>
                <a:gd name="T18" fmla="*/ 80 w 48"/>
                <a:gd name="T19" fmla="*/ 80 h 41"/>
                <a:gd name="T20" fmla="*/ 68 w 48"/>
                <a:gd name="T21" fmla="*/ 82 h 41"/>
                <a:gd name="T22" fmla="*/ 57 w 48"/>
                <a:gd name="T23" fmla="*/ 84 h 41"/>
                <a:gd name="T24" fmla="*/ 49 w 48"/>
                <a:gd name="T25" fmla="*/ 96 h 41"/>
                <a:gd name="T26" fmla="*/ 38 w 48"/>
                <a:gd name="T27" fmla="*/ 82 h 41"/>
                <a:gd name="T28" fmla="*/ 33 w 48"/>
                <a:gd name="T29" fmla="*/ 89 h 41"/>
                <a:gd name="T30" fmla="*/ 28 w 48"/>
                <a:gd name="T31" fmla="*/ 84 h 41"/>
                <a:gd name="T32" fmla="*/ 0 w 48"/>
                <a:gd name="T33" fmla="*/ 91 h 41"/>
                <a:gd name="T34" fmla="*/ 2 w 48"/>
                <a:gd name="T35" fmla="*/ 80 h 41"/>
                <a:gd name="T36" fmla="*/ 9 w 48"/>
                <a:gd name="T37" fmla="*/ 82 h 41"/>
                <a:gd name="T38" fmla="*/ 12 w 48"/>
                <a:gd name="T39" fmla="*/ 77 h 41"/>
                <a:gd name="T40" fmla="*/ 49 w 48"/>
                <a:gd name="T41" fmla="*/ 75 h 41"/>
                <a:gd name="T42" fmla="*/ 57 w 48"/>
                <a:gd name="T43" fmla="*/ 56 h 41"/>
                <a:gd name="T44" fmla="*/ 61 w 48"/>
                <a:gd name="T45" fmla="*/ 49 h 41"/>
                <a:gd name="T46" fmla="*/ 78 w 48"/>
                <a:gd name="T47" fmla="*/ 52 h 41"/>
                <a:gd name="T48" fmla="*/ 78 w 48"/>
                <a:gd name="T49" fmla="*/ 42 h 41"/>
                <a:gd name="T50" fmla="*/ 80 w 48"/>
                <a:gd name="T51" fmla="*/ 47 h 41"/>
                <a:gd name="T52" fmla="*/ 82 w 48"/>
                <a:gd name="T53" fmla="*/ 33 h 41"/>
                <a:gd name="T54" fmla="*/ 92 w 48"/>
                <a:gd name="T55" fmla="*/ 12 h 41"/>
                <a:gd name="T56" fmla="*/ 99 w 48"/>
                <a:gd name="T57" fmla="*/ 0 h 4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48" h="41">
                  <a:moveTo>
                    <a:pt x="42" y="0"/>
                  </a:moveTo>
                  <a:cubicBezTo>
                    <a:pt x="44" y="0"/>
                    <a:pt x="44" y="1"/>
                    <a:pt x="46" y="1"/>
                  </a:cubicBezTo>
                  <a:cubicBezTo>
                    <a:pt x="46" y="10"/>
                    <a:pt x="48" y="14"/>
                    <a:pt x="46" y="19"/>
                  </a:cubicBezTo>
                  <a:cubicBezTo>
                    <a:pt x="45" y="19"/>
                    <a:pt x="45" y="17"/>
                    <a:pt x="45" y="16"/>
                  </a:cubicBezTo>
                  <a:cubicBezTo>
                    <a:pt x="41" y="18"/>
                    <a:pt x="45" y="21"/>
                    <a:pt x="45" y="24"/>
                  </a:cubicBezTo>
                  <a:cubicBezTo>
                    <a:pt x="44" y="23"/>
                    <a:pt x="44" y="22"/>
                    <a:pt x="42" y="22"/>
                  </a:cubicBezTo>
                  <a:cubicBezTo>
                    <a:pt x="42" y="26"/>
                    <a:pt x="42" y="30"/>
                    <a:pt x="42" y="34"/>
                  </a:cubicBezTo>
                  <a:cubicBezTo>
                    <a:pt x="41" y="34"/>
                    <a:pt x="41" y="33"/>
                    <a:pt x="40" y="33"/>
                  </a:cubicBezTo>
                  <a:cubicBezTo>
                    <a:pt x="38" y="32"/>
                    <a:pt x="37" y="35"/>
                    <a:pt x="36" y="35"/>
                  </a:cubicBezTo>
                  <a:cubicBezTo>
                    <a:pt x="36" y="35"/>
                    <a:pt x="35" y="34"/>
                    <a:pt x="34" y="34"/>
                  </a:cubicBezTo>
                  <a:cubicBezTo>
                    <a:pt x="34" y="34"/>
                    <a:pt x="31" y="35"/>
                    <a:pt x="29" y="35"/>
                  </a:cubicBezTo>
                  <a:cubicBezTo>
                    <a:pt x="29" y="35"/>
                    <a:pt x="27" y="37"/>
                    <a:pt x="24" y="36"/>
                  </a:cubicBezTo>
                  <a:cubicBezTo>
                    <a:pt x="21" y="37"/>
                    <a:pt x="23" y="40"/>
                    <a:pt x="21" y="41"/>
                  </a:cubicBezTo>
                  <a:cubicBezTo>
                    <a:pt x="19" y="40"/>
                    <a:pt x="16" y="39"/>
                    <a:pt x="16" y="35"/>
                  </a:cubicBezTo>
                  <a:cubicBezTo>
                    <a:pt x="14" y="34"/>
                    <a:pt x="15" y="37"/>
                    <a:pt x="14" y="38"/>
                  </a:cubicBezTo>
                  <a:cubicBezTo>
                    <a:pt x="13" y="38"/>
                    <a:pt x="12" y="36"/>
                    <a:pt x="12" y="36"/>
                  </a:cubicBezTo>
                  <a:cubicBezTo>
                    <a:pt x="8" y="37"/>
                    <a:pt x="3" y="41"/>
                    <a:pt x="0" y="39"/>
                  </a:cubicBezTo>
                  <a:cubicBezTo>
                    <a:pt x="1" y="38"/>
                    <a:pt x="1" y="36"/>
                    <a:pt x="1" y="34"/>
                  </a:cubicBezTo>
                  <a:cubicBezTo>
                    <a:pt x="2" y="33"/>
                    <a:pt x="3" y="35"/>
                    <a:pt x="4" y="35"/>
                  </a:cubicBezTo>
                  <a:cubicBezTo>
                    <a:pt x="5" y="35"/>
                    <a:pt x="4" y="33"/>
                    <a:pt x="5" y="33"/>
                  </a:cubicBezTo>
                  <a:cubicBezTo>
                    <a:pt x="9" y="32"/>
                    <a:pt x="16" y="34"/>
                    <a:pt x="21" y="32"/>
                  </a:cubicBezTo>
                  <a:cubicBezTo>
                    <a:pt x="19" y="27"/>
                    <a:pt x="25" y="28"/>
                    <a:pt x="24" y="24"/>
                  </a:cubicBezTo>
                  <a:cubicBezTo>
                    <a:pt x="26" y="25"/>
                    <a:pt x="26" y="25"/>
                    <a:pt x="26" y="21"/>
                  </a:cubicBezTo>
                  <a:cubicBezTo>
                    <a:pt x="28" y="24"/>
                    <a:pt x="31" y="20"/>
                    <a:pt x="33" y="22"/>
                  </a:cubicBezTo>
                  <a:cubicBezTo>
                    <a:pt x="34" y="22"/>
                    <a:pt x="32" y="18"/>
                    <a:pt x="33" y="18"/>
                  </a:cubicBezTo>
                  <a:cubicBezTo>
                    <a:pt x="34" y="17"/>
                    <a:pt x="34" y="20"/>
                    <a:pt x="34" y="20"/>
                  </a:cubicBezTo>
                  <a:cubicBezTo>
                    <a:pt x="35" y="20"/>
                    <a:pt x="38" y="19"/>
                    <a:pt x="35" y="14"/>
                  </a:cubicBezTo>
                  <a:cubicBezTo>
                    <a:pt x="40" y="13"/>
                    <a:pt x="37" y="8"/>
                    <a:pt x="39" y="5"/>
                  </a:cubicBezTo>
                  <a:cubicBezTo>
                    <a:pt x="40" y="3"/>
                    <a:pt x="44" y="3"/>
                    <a:pt x="42"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8" name="Freeform 50"/>
            <p:cNvSpPr/>
            <p:nvPr/>
          </p:nvSpPr>
          <p:spPr bwMode="auto">
            <a:xfrm>
              <a:off x="4227863" y="2326407"/>
              <a:ext cx="28575" cy="38100"/>
            </a:xfrm>
            <a:custGeom>
              <a:avLst/>
              <a:gdLst>
                <a:gd name="T0" fmla="*/ 5 w 8"/>
                <a:gd name="T1" fmla="*/ 0 h 10"/>
                <a:gd name="T2" fmla="*/ 0 w 8"/>
                <a:gd name="T3" fmla="*/ 22 h 10"/>
                <a:gd name="T4" fmla="*/ 5 w 8"/>
                <a:gd name="T5" fmla="*/ 0 h 10"/>
                <a:gd name="T6" fmla="*/ 0 60000 65536"/>
                <a:gd name="T7" fmla="*/ 0 60000 65536"/>
                <a:gd name="T8" fmla="*/ 0 60000 65536"/>
              </a:gdLst>
              <a:ahLst/>
              <a:cxnLst>
                <a:cxn ang="T6">
                  <a:pos x="T0" y="T1"/>
                </a:cxn>
                <a:cxn ang="T7">
                  <a:pos x="T2" y="T3"/>
                </a:cxn>
                <a:cxn ang="T8">
                  <a:pos x="T4" y="T5"/>
                </a:cxn>
              </a:cxnLst>
              <a:rect l="0" t="0" r="r" b="b"/>
              <a:pathLst>
                <a:path w="8" h="10">
                  <a:moveTo>
                    <a:pt x="2" y="0"/>
                  </a:moveTo>
                  <a:cubicBezTo>
                    <a:pt x="8" y="0"/>
                    <a:pt x="6" y="10"/>
                    <a:pt x="0" y="9"/>
                  </a:cubicBezTo>
                  <a:cubicBezTo>
                    <a:pt x="3" y="8"/>
                    <a:pt x="0" y="1"/>
                    <a:pt x="2"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49" name="Freeform 51"/>
            <p:cNvSpPr/>
            <p:nvPr/>
          </p:nvSpPr>
          <p:spPr bwMode="auto">
            <a:xfrm>
              <a:off x="4302475" y="2378794"/>
              <a:ext cx="44450" cy="34925"/>
            </a:xfrm>
            <a:custGeom>
              <a:avLst/>
              <a:gdLst>
                <a:gd name="T0" fmla="*/ 21 w 12"/>
                <a:gd name="T1" fmla="*/ 5 h 9"/>
                <a:gd name="T2" fmla="*/ 28 w 12"/>
                <a:gd name="T3" fmla="*/ 20 h 9"/>
                <a:gd name="T4" fmla="*/ 14 w 12"/>
                <a:gd name="T5" fmla="*/ 20 h 9"/>
                <a:gd name="T6" fmla="*/ 14 w 12"/>
                <a:gd name="T7" fmla="*/ 15 h 9"/>
                <a:gd name="T8" fmla="*/ 2 w 12"/>
                <a:gd name="T9" fmla="*/ 12 h 9"/>
                <a:gd name="T10" fmla="*/ 21 w 12"/>
                <a:gd name="T11" fmla="*/ 5 h 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2" h="9">
                  <a:moveTo>
                    <a:pt x="9" y="2"/>
                  </a:moveTo>
                  <a:cubicBezTo>
                    <a:pt x="11" y="3"/>
                    <a:pt x="12" y="5"/>
                    <a:pt x="12" y="8"/>
                  </a:cubicBezTo>
                  <a:cubicBezTo>
                    <a:pt x="11" y="7"/>
                    <a:pt x="7" y="9"/>
                    <a:pt x="6" y="8"/>
                  </a:cubicBezTo>
                  <a:cubicBezTo>
                    <a:pt x="6" y="7"/>
                    <a:pt x="6" y="6"/>
                    <a:pt x="6" y="6"/>
                  </a:cubicBezTo>
                  <a:cubicBezTo>
                    <a:pt x="4" y="6"/>
                    <a:pt x="1" y="7"/>
                    <a:pt x="1" y="5"/>
                  </a:cubicBezTo>
                  <a:cubicBezTo>
                    <a:pt x="0" y="0"/>
                    <a:pt x="9" y="5"/>
                    <a:pt x="9"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0" name="Freeform 52"/>
            <p:cNvSpPr/>
            <p:nvPr/>
          </p:nvSpPr>
          <p:spPr bwMode="auto">
            <a:xfrm>
              <a:off x="4658075" y="2439119"/>
              <a:ext cx="33338" cy="19050"/>
            </a:xfrm>
            <a:custGeom>
              <a:avLst/>
              <a:gdLst>
                <a:gd name="T0" fmla="*/ 0 w 9"/>
                <a:gd name="T1" fmla="*/ 10 h 5"/>
                <a:gd name="T2" fmla="*/ 12 w 9"/>
                <a:gd name="T3" fmla="*/ 2 h 5"/>
                <a:gd name="T4" fmla="*/ 9 w 9"/>
                <a:gd name="T5" fmla="*/ 5 h 5"/>
                <a:gd name="T6" fmla="*/ 0 w 9"/>
                <a:gd name="T7" fmla="*/ 1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0" y="4"/>
                  </a:moveTo>
                  <a:cubicBezTo>
                    <a:pt x="0" y="1"/>
                    <a:pt x="2" y="1"/>
                    <a:pt x="5" y="1"/>
                  </a:cubicBezTo>
                  <a:cubicBezTo>
                    <a:pt x="9" y="0"/>
                    <a:pt x="7" y="3"/>
                    <a:pt x="4" y="2"/>
                  </a:cubicBezTo>
                  <a:cubicBezTo>
                    <a:pt x="3" y="3"/>
                    <a:pt x="3" y="5"/>
                    <a:pt x="0" y="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1" name="Freeform 53"/>
            <p:cNvSpPr/>
            <p:nvPr/>
          </p:nvSpPr>
          <p:spPr bwMode="auto">
            <a:xfrm>
              <a:off x="6458300" y="2469282"/>
              <a:ext cx="33338" cy="19050"/>
            </a:xfrm>
            <a:custGeom>
              <a:avLst/>
              <a:gdLst>
                <a:gd name="T0" fmla="*/ 19 w 9"/>
                <a:gd name="T1" fmla="*/ 0 h 5"/>
                <a:gd name="T2" fmla="*/ 12 w 9"/>
                <a:gd name="T3" fmla="*/ 12 h 5"/>
                <a:gd name="T4" fmla="*/ 2 w 9"/>
                <a:gd name="T5" fmla="*/ 2 h 5"/>
                <a:gd name="T6" fmla="*/ 19 w 9"/>
                <a:gd name="T7" fmla="*/ 0 h 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 h="5">
                  <a:moveTo>
                    <a:pt x="8" y="0"/>
                  </a:moveTo>
                  <a:cubicBezTo>
                    <a:pt x="9" y="4"/>
                    <a:pt x="4" y="1"/>
                    <a:pt x="5" y="5"/>
                  </a:cubicBezTo>
                  <a:cubicBezTo>
                    <a:pt x="2" y="5"/>
                    <a:pt x="0" y="4"/>
                    <a:pt x="1" y="1"/>
                  </a:cubicBezTo>
                  <a:cubicBezTo>
                    <a:pt x="4" y="4"/>
                    <a:pt x="4" y="0"/>
                    <a:pt x="8"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2" name="Freeform 54"/>
            <p:cNvSpPr/>
            <p:nvPr/>
          </p:nvSpPr>
          <p:spPr bwMode="auto">
            <a:xfrm>
              <a:off x="6402738" y="2469282"/>
              <a:ext cx="47625" cy="49212"/>
            </a:xfrm>
            <a:custGeom>
              <a:avLst/>
              <a:gdLst>
                <a:gd name="T0" fmla="*/ 25 w 13"/>
                <a:gd name="T1" fmla="*/ 5 h 13"/>
                <a:gd name="T2" fmla="*/ 25 w 13"/>
                <a:gd name="T3" fmla="*/ 26 h 13"/>
                <a:gd name="T4" fmla="*/ 9 w 13"/>
                <a:gd name="T5" fmla="*/ 29 h 13"/>
                <a:gd name="T6" fmla="*/ 0 w 13"/>
                <a:gd name="T7" fmla="*/ 17 h 13"/>
                <a:gd name="T8" fmla="*/ 25 w 13"/>
                <a:gd name="T9" fmla="*/ 5 h 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3">
                  <a:moveTo>
                    <a:pt x="11" y="2"/>
                  </a:moveTo>
                  <a:cubicBezTo>
                    <a:pt x="13" y="6"/>
                    <a:pt x="7" y="9"/>
                    <a:pt x="11" y="11"/>
                  </a:cubicBezTo>
                  <a:cubicBezTo>
                    <a:pt x="11" y="13"/>
                    <a:pt x="6" y="11"/>
                    <a:pt x="4" y="12"/>
                  </a:cubicBezTo>
                  <a:cubicBezTo>
                    <a:pt x="4" y="7"/>
                    <a:pt x="5" y="5"/>
                    <a:pt x="0" y="7"/>
                  </a:cubicBezTo>
                  <a:cubicBezTo>
                    <a:pt x="0" y="1"/>
                    <a:pt x="6" y="0"/>
                    <a:pt x="1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3" name="Freeform 55"/>
            <p:cNvSpPr/>
            <p:nvPr/>
          </p:nvSpPr>
          <p:spPr bwMode="auto">
            <a:xfrm>
              <a:off x="6237638" y="2645494"/>
              <a:ext cx="25400" cy="44450"/>
            </a:xfrm>
            <a:custGeom>
              <a:avLst/>
              <a:gdLst>
                <a:gd name="T0" fmla="*/ 16 w 7"/>
                <a:gd name="T1" fmla="*/ 12 h 12"/>
                <a:gd name="T2" fmla="*/ 9 w 7"/>
                <a:gd name="T3" fmla="*/ 28 h 12"/>
                <a:gd name="T4" fmla="*/ 0 w 7"/>
                <a:gd name="T5" fmla="*/ 28 h 12"/>
                <a:gd name="T6" fmla="*/ 2 w 7"/>
                <a:gd name="T7" fmla="*/ 9 h 12"/>
                <a:gd name="T8" fmla="*/ 16 w 7"/>
                <a:gd name="T9" fmla="*/ 12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2">
                  <a:moveTo>
                    <a:pt x="7" y="5"/>
                  </a:moveTo>
                  <a:cubicBezTo>
                    <a:pt x="7" y="8"/>
                    <a:pt x="3" y="7"/>
                    <a:pt x="4" y="12"/>
                  </a:cubicBezTo>
                  <a:cubicBezTo>
                    <a:pt x="3" y="12"/>
                    <a:pt x="1" y="12"/>
                    <a:pt x="0" y="12"/>
                  </a:cubicBezTo>
                  <a:cubicBezTo>
                    <a:pt x="0" y="10"/>
                    <a:pt x="4" y="5"/>
                    <a:pt x="1" y="4"/>
                  </a:cubicBezTo>
                  <a:cubicBezTo>
                    <a:pt x="2" y="1"/>
                    <a:pt x="7" y="0"/>
                    <a:pt x="7"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4" name="Freeform 56"/>
            <p:cNvSpPr/>
            <p:nvPr/>
          </p:nvSpPr>
          <p:spPr bwMode="auto">
            <a:xfrm>
              <a:off x="8748302" y="2670024"/>
              <a:ext cx="19050" cy="15875"/>
            </a:xfrm>
            <a:custGeom>
              <a:avLst/>
              <a:gdLst>
                <a:gd name="T0" fmla="*/ 0 w 5"/>
                <a:gd name="T1" fmla="*/ 3 h 4"/>
                <a:gd name="T2" fmla="*/ 12 w 5"/>
                <a:gd name="T3" fmla="*/ 0 h 4"/>
                <a:gd name="T4" fmla="*/ 7 w 5"/>
                <a:gd name="T5" fmla="*/ 10 h 4"/>
                <a:gd name="T6" fmla="*/ 2 w 5"/>
                <a:gd name="T7" fmla="*/ 10 h 4"/>
                <a:gd name="T8" fmla="*/ 0 w 5"/>
                <a:gd name="T9" fmla="*/ 3 h 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5" h="4">
                  <a:moveTo>
                    <a:pt x="0" y="1"/>
                  </a:moveTo>
                  <a:cubicBezTo>
                    <a:pt x="0" y="0"/>
                    <a:pt x="3" y="0"/>
                    <a:pt x="5" y="0"/>
                  </a:cubicBezTo>
                  <a:cubicBezTo>
                    <a:pt x="5" y="2"/>
                    <a:pt x="3" y="2"/>
                    <a:pt x="3" y="4"/>
                  </a:cubicBezTo>
                  <a:cubicBezTo>
                    <a:pt x="3" y="4"/>
                    <a:pt x="2" y="4"/>
                    <a:pt x="1" y="4"/>
                  </a:cubicBezTo>
                  <a:cubicBezTo>
                    <a:pt x="1" y="2"/>
                    <a:pt x="1" y="1"/>
                    <a:pt x="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5" name="Freeform 57"/>
            <p:cNvSpPr/>
            <p:nvPr/>
          </p:nvSpPr>
          <p:spPr bwMode="auto">
            <a:xfrm>
              <a:off x="9218202" y="2685899"/>
              <a:ext cx="179388" cy="66675"/>
            </a:xfrm>
            <a:custGeom>
              <a:avLst/>
              <a:gdLst>
                <a:gd name="T0" fmla="*/ 111 w 48"/>
                <a:gd name="T1" fmla="*/ 28 h 18"/>
                <a:gd name="T2" fmla="*/ 85 w 48"/>
                <a:gd name="T3" fmla="*/ 37 h 18"/>
                <a:gd name="T4" fmla="*/ 80 w 48"/>
                <a:gd name="T5" fmla="*/ 23 h 18"/>
                <a:gd name="T6" fmla="*/ 49 w 48"/>
                <a:gd name="T7" fmla="*/ 19 h 18"/>
                <a:gd name="T8" fmla="*/ 47 w 48"/>
                <a:gd name="T9" fmla="*/ 9 h 18"/>
                <a:gd name="T10" fmla="*/ 19 w 48"/>
                <a:gd name="T11" fmla="*/ 9 h 18"/>
                <a:gd name="T12" fmla="*/ 0 w 48"/>
                <a:gd name="T13" fmla="*/ 16 h 18"/>
                <a:gd name="T14" fmla="*/ 9 w 48"/>
                <a:gd name="T15" fmla="*/ 2 h 18"/>
                <a:gd name="T16" fmla="*/ 35 w 48"/>
                <a:gd name="T17" fmla="*/ 0 h 18"/>
                <a:gd name="T18" fmla="*/ 42 w 48"/>
                <a:gd name="T19" fmla="*/ 5 h 18"/>
                <a:gd name="T20" fmla="*/ 52 w 48"/>
                <a:gd name="T21" fmla="*/ 7 h 18"/>
                <a:gd name="T22" fmla="*/ 73 w 48"/>
                <a:gd name="T23" fmla="*/ 9 h 18"/>
                <a:gd name="T24" fmla="*/ 82 w 48"/>
                <a:gd name="T25" fmla="*/ 23 h 18"/>
                <a:gd name="T26" fmla="*/ 89 w 48"/>
                <a:gd name="T27" fmla="*/ 26 h 18"/>
                <a:gd name="T28" fmla="*/ 111 w 48"/>
                <a:gd name="T29" fmla="*/ 28 h 1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8">
                  <a:moveTo>
                    <a:pt x="47" y="12"/>
                  </a:moveTo>
                  <a:cubicBezTo>
                    <a:pt x="48" y="18"/>
                    <a:pt x="37" y="12"/>
                    <a:pt x="36" y="16"/>
                  </a:cubicBezTo>
                  <a:cubicBezTo>
                    <a:pt x="34" y="16"/>
                    <a:pt x="36" y="11"/>
                    <a:pt x="34" y="10"/>
                  </a:cubicBezTo>
                  <a:cubicBezTo>
                    <a:pt x="30" y="9"/>
                    <a:pt x="25" y="9"/>
                    <a:pt x="21" y="8"/>
                  </a:cubicBezTo>
                  <a:cubicBezTo>
                    <a:pt x="20" y="7"/>
                    <a:pt x="20" y="6"/>
                    <a:pt x="20" y="4"/>
                  </a:cubicBezTo>
                  <a:cubicBezTo>
                    <a:pt x="15" y="5"/>
                    <a:pt x="11" y="4"/>
                    <a:pt x="8" y="4"/>
                  </a:cubicBezTo>
                  <a:cubicBezTo>
                    <a:pt x="5" y="5"/>
                    <a:pt x="3" y="8"/>
                    <a:pt x="0" y="7"/>
                  </a:cubicBezTo>
                  <a:cubicBezTo>
                    <a:pt x="0" y="3"/>
                    <a:pt x="5" y="5"/>
                    <a:pt x="4" y="1"/>
                  </a:cubicBezTo>
                  <a:cubicBezTo>
                    <a:pt x="7" y="0"/>
                    <a:pt x="14" y="2"/>
                    <a:pt x="15" y="0"/>
                  </a:cubicBezTo>
                  <a:cubicBezTo>
                    <a:pt x="20" y="0"/>
                    <a:pt x="13" y="1"/>
                    <a:pt x="18" y="2"/>
                  </a:cubicBezTo>
                  <a:cubicBezTo>
                    <a:pt x="18" y="2"/>
                    <a:pt x="22" y="3"/>
                    <a:pt x="22" y="3"/>
                  </a:cubicBezTo>
                  <a:cubicBezTo>
                    <a:pt x="23" y="4"/>
                    <a:pt x="27" y="5"/>
                    <a:pt x="31" y="4"/>
                  </a:cubicBezTo>
                  <a:cubicBezTo>
                    <a:pt x="30" y="9"/>
                    <a:pt x="37" y="5"/>
                    <a:pt x="35" y="10"/>
                  </a:cubicBezTo>
                  <a:cubicBezTo>
                    <a:pt x="37" y="9"/>
                    <a:pt x="38" y="9"/>
                    <a:pt x="38" y="11"/>
                  </a:cubicBezTo>
                  <a:cubicBezTo>
                    <a:pt x="41" y="12"/>
                    <a:pt x="46" y="10"/>
                    <a:pt x="47" y="1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6" name="Freeform 58"/>
            <p:cNvSpPr/>
            <p:nvPr/>
          </p:nvSpPr>
          <p:spPr bwMode="auto">
            <a:xfrm>
              <a:off x="9427752" y="2744637"/>
              <a:ext cx="74613" cy="41275"/>
            </a:xfrm>
            <a:custGeom>
              <a:avLst/>
              <a:gdLst>
                <a:gd name="T0" fmla="*/ 2 w 20"/>
                <a:gd name="T1" fmla="*/ 0 h 11"/>
                <a:gd name="T2" fmla="*/ 26 w 20"/>
                <a:gd name="T3" fmla="*/ 2 h 11"/>
                <a:gd name="T4" fmla="*/ 35 w 20"/>
                <a:gd name="T5" fmla="*/ 5 h 11"/>
                <a:gd name="T6" fmla="*/ 47 w 20"/>
                <a:gd name="T7" fmla="*/ 12 h 11"/>
                <a:gd name="T8" fmla="*/ 9 w 20"/>
                <a:gd name="T9" fmla="*/ 17 h 11"/>
                <a:gd name="T10" fmla="*/ 14 w 20"/>
                <a:gd name="T11" fmla="*/ 14 h 11"/>
                <a:gd name="T12" fmla="*/ 2 w 20"/>
                <a:gd name="T13" fmla="*/ 0 h 1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1">
                  <a:moveTo>
                    <a:pt x="1" y="0"/>
                  </a:moveTo>
                  <a:cubicBezTo>
                    <a:pt x="4" y="2"/>
                    <a:pt x="8" y="0"/>
                    <a:pt x="11" y="1"/>
                  </a:cubicBezTo>
                  <a:cubicBezTo>
                    <a:pt x="11" y="1"/>
                    <a:pt x="14" y="6"/>
                    <a:pt x="15" y="2"/>
                  </a:cubicBezTo>
                  <a:cubicBezTo>
                    <a:pt x="17" y="3"/>
                    <a:pt x="16" y="6"/>
                    <a:pt x="20" y="5"/>
                  </a:cubicBezTo>
                  <a:cubicBezTo>
                    <a:pt x="20" y="11"/>
                    <a:pt x="8" y="8"/>
                    <a:pt x="4" y="7"/>
                  </a:cubicBezTo>
                  <a:cubicBezTo>
                    <a:pt x="3" y="6"/>
                    <a:pt x="6" y="6"/>
                    <a:pt x="6" y="6"/>
                  </a:cubicBezTo>
                  <a:cubicBezTo>
                    <a:pt x="6" y="4"/>
                    <a:pt x="0" y="4"/>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7" name="Freeform 59"/>
            <p:cNvSpPr/>
            <p:nvPr/>
          </p:nvSpPr>
          <p:spPr bwMode="auto">
            <a:xfrm>
              <a:off x="6028088" y="2747094"/>
              <a:ext cx="36513" cy="25400"/>
            </a:xfrm>
            <a:custGeom>
              <a:avLst/>
              <a:gdLst>
                <a:gd name="T0" fmla="*/ 21 w 10"/>
                <a:gd name="T1" fmla="*/ 0 h 7"/>
                <a:gd name="T2" fmla="*/ 14 w 10"/>
                <a:gd name="T3" fmla="*/ 16 h 7"/>
                <a:gd name="T4" fmla="*/ 0 w 10"/>
                <a:gd name="T5" fmla="*/ 7 h 7"/>
                <a:gd name="T6" fmla="*/ 7 w 10"/>
                <a:gd name="T7" fmla="*/ 0 h 7"/>
                <a:gd name="T8" fmla="*/ 21 w 10"/>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7">
                  <a:moveTo>
                    <a:pt x="9" y="0"/>
                  </a:moveTo>
                  <a:cubicBezTo>
                    <a:pt x="10" y="5"/>
                    <a:pt x="6" y="4"/>
                    <a:pt x="6" y="7"/>
                  </a:cubicBezTo>
                  <a:cubicBezTo>
                    <a:pt x="3" y="7"/>
                    <a:pt x="0" y="6"/>
                    <a:pt x="0" y="3"/>
                  </a:cubicBezTo>
                  <a:cubicBezTo>
                    <a:pt x="2" y="3"/>
                    <a:pt x="3" y="2"/>
                    <a:pt x="3" y="0"/>
                  </a:cubicBezTo>
                  <a:cubicBezTo>
                    <a:pt x="5" y="0"/>
                    <a:pt x="7" y="0"/>
                    <a:pt x="9"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8" name="Freeform 60"/>
            <p:cNvSpPr/>
            <p:nvPr/>
          </p:nvSpPr>
          <p:spPr bwMode="auto">
            <a:xfrm>
              <a:off x="9400764" y="2760512"/>
              <a:ext cx="30163" cy="19050"/>
            </a:xfrm>
            <a:custGeom>
              <a:avLst/>
              <a:gdLst>
                <a:gd name="T0" fmla="*/ 14 w 8"/>
                <a:gd name="T1" fmla="*/ 12 h 5"/>
                <a:gd name="T2" fmla="*/ 0 w 8"/>
                <a:gd name="T3" fmla="*/ 10 h 5"/>
                <a:gd name="T4" fmla="*/ 14 w 8"/>
                <a:gd name="T5" fmla="*/ 12 h 5"/>
                <a:gd name="T6" fmla="*/ 0 60000 65536"/>
                <a:gd name="T7" fmla="*/ 0 60000 65536"/>
                <a:gd name="T8" fmla="*/ 0 60000 65536"/>
              </a:gdLst>
              <a:ahLst/>
              <a:cxnLst>
                <a:cxn ang="T6">
                  <a:pos x="T0" y="T1"/>
                </a:cxn>
                <a:cxn ang="T7">
                  <a:pos x="T2" y="T3"/>
                </a:cxn>
                <a:cxn ang="T8">
                  <a:pos x="T4" y="T5"/>
                </a:cxn>
              </a:cxnLst>
              <a:rect l="0" t="0" r="r" b="b"/>
              <a:pathLst>
                <a:path w="8" h="5">
                  <a:moveTo>
                    <a:pt x="6" y="5"/>
                  </a:moveTo>
                  <a:cubicBezTo>
                    <a:pt x="5" y="4"/>
                    <a:pt x="3" y="4"/>
                    <a:pt x="0" y="4"/>
                  </a:cubicBezTo>
                  <a:cubicBezTo>
                    <a:pt x="1" y="2"/>
                    <a:pt x="8" y="0"/>
                    <a:pt x="6"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59" name="Freeform 61"/>
            <p:cNvSpPr/>
            <p:nvPr/>
          </p:nvSpPr>
          <p:spPr bwMode="auto">
            <a:xfrm>
              <a:off x="9326152" y="2763687"/>
              <a:ext cx="33338" cy="22225"/>
            </a:xfrm>
            <a:custGeom>
              <a:avLst/>
              <a:gdLst>
                <a:gd name="T0" fmla="*/ 2 w 9"/>
                <a:gd name="T1" fmla="*/ 5 h 6"/>
                <a:gd name="T2" fmla="*/ 19 w 9"/>
                <a:gd name="T3" fmla="*/ 9 h 6"/>
                <a:gd name="T4" fmla="*/ 2 w 9"/>
                <a:gd name="T5" fmla="*/ 5 h 6"/>
                <a:gd name="T6" fmla="*/ 0 60000 65536"/>
                <a:gd name="T7" fmla="*/ 0 60000 65536"/>
                <a:gd name="T8" fmla="*/ 0 60000 65536"/>
              </a:gdLst>
              <a:ahLst/>
              <a:cxnLst>
                <a:cxn ang="T6">
                  <a:pos x="T0" y="T1"/>
                </a:cxn>
                <a:cxn ang="T7">
                  <a:pos x="T2" y="T3"/>
                </a:cxn>
                <a:cxn ang="T8">
                  <a:pos x="T4" y="T5"/>
                </a:cxn>
              </a:cxnLst>
              <a:rect l="0" t="0" r="r" b="b"/>
              <a:pathLst>
                <a:path w="9" h="6">
                  <a:moveTo>
                    <a:pt x="1" y="2"/>
                  </a:moveTo>
                  <a:cubicBezTo>
                    <a:pt x="4" y="3"/>
                    <a:pt x="9" y="0"/>
                    <a:pt x="8" y="4"/>
                  </a:cubicBezTo>
                  <a:cubicBezTo>
                    <a:pt x="6" y="4"/>
                    <a:pt x="0" y="6"/>
                    <a:pt x="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0" name="Freeform 62"/>
            <p:cNvSpPr/>
            <p:nvPr/>
          </p:nvSpPr>
          <p:spPr bwMode="auto">
            <a:xfrm>
              <a:off x="6226525" y="2772494"/>
              <a:ext cx="47625" cy="87312"/>
            </a:xfrm>
            <a:custGeom>
              <a:avLst/>
              <a:gdLst>
                <a:gd name="T0" fmla="*/ 14 w 13"/>
                <a:gd name="T1" fmla="*/ 0 h 23"/>
                <a:gd name="T2" fmla="*/ 25 w 13"/>
                <a:gd name="T3" fmla="*/ 0 h 23"/>
                <a:gd name="T4" fmla="*/ 30 w 13"/>
                <a:gd name="T5" fmla="*/ 19 h 23"/>
                <a:gd name="T6" fmla="*/ 23 w 13"/>
                <a:gd name="T7" fmla="*/ 29 h 23"/>
                <a:gd name="T8" fmla="*/ 21 w 13"/>
                <a:gd name="T9" fmla="*/ 38 h 23"/>
                <a:gd name="T10" fmla="*/ 16 w 13"/>
                <a:gd name="T11" fmla="*/ 50 h 23"/>
                <a:gd name="T12" fmla="*/ 9 w 13"/>
                <a:gd name="T13" fmla="*/ 43 h 23"/>
                <a:gd name="T14" fmla="*/ 0 w 13"/>
                <a:gd name="T15" fmla="*/ 31 h 23"/>
                <a:gd name="T16" fmla="*/ 7 w 13"/>
                <a:gd name="T17" fmla="*/ 14 h 23"/>
                <a:gd name="T18" fmla="*/ 14 w 13"/>
                <a:gd name="T19" fmla="*/ 0 h 2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3" h="23">
                  <a:moveTo>
                    <a:pt x="6" y="0"/>
                  </a:moveTo>
                  <a:cubicBezTo>
                    <a:pt x="8" y="0"/>
                    <a:pt x="9" y="0"/>
                    <a:pt x="11" y="0"/>
                  </a:cubicBezTo>
                  <a:cubicBezTo>
                    <a:pt x="12" y="2"/>
                    <a:pt x="12" y="6"/>
                    <a:pt x="13" y="8"/>
                  </a:cubicBezTo>
                  <a:cubicBezTo>
                    <a:pt x="11" y="9"/>
                    <a:pt x="12" y="12"/>
                    <a:pt x="10" y="12"/>
                  </a:cubicBezTo>
                  <a:cubicBezTo>
                    <a:pt x="10" y="14"/>
                    <a:pt x="10" y="15"/>
                    <a:pt x="9" y="16"/>
                  </a:cubicBezTo>
                  <a:cubicBezTo>
                    <a:pt x="8" y="17"/>
                    <a:pt x="10" y="22"/>
                    <a:pt x="7" y="21"/>
                  </a:cubicBezTo>
                  <a:cubicBezTo>
                    <a:pt x="3" y="23"/>
                    <a:pt x="7" y="18"/>
                    <a:pt x="4" y="18"/>
                  </a:cubicBezTo>
                  <a:cubicBezTo>
                    <a:pt x="2" y="18"/>
                    <a:pt x="2" y="15"/>
                    <a:pt x="0" y="13"/>
                  </a:cubicBezTo>
                  <a:cubicBezTo>
                    <a:pt x="0" y="10"/>
                    <a:pt x="4" y="11"/>
                    <a:pt x="3" y="6"/>
                  </a:cubicBezTo>
                  <a:cubicBezTo>
                    <a:pt x="6" y="9"/>
                    <a:pt x="6" y="3"/>
                    <a:pt x="6"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1" name="Freeform 63"/>
            <p:cNvSpPr/>
            <p:nvPr/>
          </p:nvSpPr>
          <p:spPr bwMode="auto">
            <a:xfrm>
              <a:off x="6274150" y="2848694"/>
              <a:ext cx="68263" cy="66675"/>
            </a:xfrm>
            <a:custGeom>
              <a:avLst/>
              <a:gdLst>
                <a:gd name="T0" fmla="*/ 24 w 18"/>
                <a:gd name="T1" fmla="*/ 2 h 18"/>
                <a:gd name="T2" fmla="*/ 31 w 18"/>
                <a:gd name="T3" fmla="*/ 12 h 18"/>
                <a:gd name="T4" fmla="*/ 29 w 18"/>
                <a:gd name="T5" fmla="*/ 14 h 18"/>
                <a:gd name="T6" fmla="*/ 31 w 18"/>
                <a:gd name="T7" fmla="*/ 21 h 18"/>
                <a:gd name="T8" fmla="*/ 43 w 18"/>
                <a:gd name="T9" fmla="*/ 33 h 18"/>
                <a:gd name="T10" fmla="*/ 38 w 18"/>
                <a:gd name="T11" fmla="*/ 42 h 18"/>
                <a:gd name="T12" fmla="*/ 29 w 18"/>
                <a:gd name="T13" fmla="*/ 42 h 18"/>
                <a:gd name="T14" fmla="*/ 14 w 18"/>
                <a:gd name="T15" fmla="*/ 28 h 18"/>
                <a:gd name="T16" fmla="*/ 19 w 18"/>
                <a:gd name="T17" fmla="*/ 23 h 18"/>
                <a:gd name="T18" fmla="*/ 0 w 18"/>
                <a:gd name="T19" fmla="*/ 7 h 18"/>
                <a:gd name="T20" fmla="*/ 24 w 18"/>
                <a:gd name="T21" fmla="*/ 2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8" h="18">
                  <a:moveTo>
                    <a:pt x="10" y="1"/>
                  </a:moveTo>
                  <a:cubicBezTo>
                    <a:pt x="7" y="5"/>
                    <a:pt x="12" y="4"/>
                    <a:pt x="13" y="5"/>
                  </a:cubicBezTo>
                  <a:cubicBezTo>
                    <a:pt x="14" y="6"/>
                    <a:pt x="12" y="6"/>
                    <a:pt x="12" y="6"/>
                  </a:cubicBezTo>
                  <a:cubicBezTo>
                    <a:pt x="12" y="6"/>
                    <a:pt x="13" y="8"/>
                    <a:pt x="13" y="9"/>
                  </a:cubicBezTo>
                  <a:cubicBezTo>
                    <a:pt x="14" y="11"/>
                    <a:pt x="18" y="11"/>
                    <a:pt x="18" y="14"/>
                  </a:cubicBezTo>
                  <a:cubicBezTo>
                    <a:pt x="15" y="14"/>
                    <a:pt x="16" y="16"/>
                    <a:pt x="16" y="18"/>
                  </a:cubicBezTo>
                  <a:cubicBezTo>
                    <a:pt x="15" y="17"/>
                    <a:pt x="12" y="16"/>
                    <a:pt x="12" y="18"/>
                  </a:cubicBezTo>
                  <a:cubicBezTo>
                    <a:pt x="9" y="17"/>
                    <a:pt x="10" y="13"/>
                    <a:pt x="6" y="12"/>
                  </a:cubicBezTo>
                  <a:cubicBezTo>
                    <a:pt x="6" y="11"/>
                    <a:pt x="8" y="11"/>
                    <a:pt x="8" y="10"/>
                  </a:cubicBezTo>
                  <a:cubicBezTo>
                    <a:pt x="6" y="8"/>
                    <a:pt x="4" y="4"/>
                    <a:pt x="0" y="3"/>
                  </a:cubicBezTo>
                  <a:cubicBezTo>
                    <a:pt x="3" y="0"/>
                    <a:pt x="5" y="1"/>
                    <a:pt x="1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2" name="Freeform 64"/>
            <p:cNvSpPr/>
            <p:nvPr/>
          </p:nvSpPr>
          <p:spPr bwMode="auto">
            <a:xfrm>
              <a:off x="6248750" y="2874094"/>
              <a:ext cx="14288" cy="11112"/>
            </a:xfrm>
            <a:custGeom>
              <a:avLst/>
              <a:gdLst>
                <a:gd name="T0" fmla="*/ 0 w 4"/>
                <a:gd name="T1" fmla="*/ 0 h 3"/>
                <a:gd name="T2" fmla="*/ 9 w 4"/>
                <a:gd name="T3" fmla="*/ 0 h 3"/>
                <a:gd name="T4" fmla="*/ 9 w 4"/>
                <a:gd name="T5" fmla="*/ 7 h 3"/>
                <a:gd name="T6" fmla="*/ 0 w 4"/>
                <a:gd name="T7" fmla="*/ 7 h 3"/>
                <a:gd name="T8" fmla="*/ 0 w 4"/>
                <a:gd name="T9" fmla="*/ 0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 h="3">
                  <a:moveTo>
                    <a:pt x="0" y="0"/>
                  </a:moveTo>
                  <a:cubicBezTo>
                    <a:pt x="1" y="0"/>
                    <a:pt x="3" y="0"/>
                    <a:pt x="4" y="0"/>
                  </a:cubicBezTo>
                  <a:cubicBezTo>
                    <a:pt x="4" y="1"/>
                    <a:pt x="4" y="2"/>
                    <a:pt x="4" y="3"/>
                  </a:cubicBezTo>
                  <a:cubicBezTo>
                    <a:pt x="3" y="3"/>
                    <a:pt x="1" y="3"/>
                    <a:pt x="0" y="3"/>
                  </a:cubicBezTo>
                  <a:cubicBezTo>
                    <a:pt x="0" y="2"/>
                    <a:pt x="0" y="1"/>
                    <a:pt x="0"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3" name="Freeform 65"/>
            <p:cNvSpPr/>
            <p:nvPr/>
          </p:nvSpPr>
          <p:spPr bwMode="auto">
            <a:xfrm>
              <a:off x="6270975" y="2889969"/>
              <a:ext cx="38100" cy="52387"/>
            </a:xfrm>
            <a:custGeom>
              <a:avLst/>
              <a:gdLst>
                <a:gd name="T0" fmla="*/ 22 w 10"/>
                <a:gd name="T1" fmla="*/ 28 h 14"/>
                <a:gd name="T2" fmla="*/ 10 w 10"/>
                <a:gd name="T3" fmla="*/ 31 h 14"/>
                <a:gd name="T4" fmla="*/ 0 w 10"/>
                <a:gd name="T5" fmla="*/ 17 h 14"/>
                <a:gd name="T6" fmla="*/ 22 w 10"/>
                <a:gd name="T7" fmla="*/ 28 h 1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 h="14">
                  <a:moveTo>
                    <a:pt x="9" y="12"/>
                  </a:moveTo>
                  <a:cubicBezTo>
                    <a:pt x="10" y="14"/>
                    <a:pt x="5" y="12"/>
                    <a:pt x="4" y="13"/>
                  </a:cubicBezTo>
                  <a:cubicBezTo>
                    <a:pt x="4" y="10"/>
                    <a:pt x="5" y="5"/>
                    <a:pt x="0" y="7"/>
                  </a:cubicBezTo>
                  <a:cubicBezTo>
                    <a:pt x="4" y="0"/>
                    <a:pt x="4" y="13"/>
                    <a:pt x="9" y="1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4" name="Freeform 66"/>
            <p:cNvSpPr/>
            <p:nvPr/>
          </p:nvSpPr>
          <p:spPr bwMode="auto">
            <a:xfrm>
              <a:off x="5510563" y="2934419"/>
              <a:ext cx="36513" cy="63500"/>
            </a:xfrm>
            <a:custGeom>
              <a:avLst/>
              <a:gdLst>
                <a:gd name="T0" fmla="*/ 5 w 10"/>
                <a:gd name="T1" fmla="*/ 2 h 17"/>
                <a:gd name="T2" fmla="*/ 12 w 10"/>
                <a:gd name="T3" fmla="*/ 9 h 17"/>
                <a:gd name="T4" fmla="*/ 14 w 10"/>
                <a:gd name="T5" fmla="*/ 14 h 17"/>
                <a:gd name="T6" fmla="*/ 21 w 10"/>
                <a:gd name="T7" fmla="*/ 19 h 17"/>
                <a:gd name="T8" fmla="*/ 18 w 10"/>
                <a:gd name="T9" fmla="*/ 21 h 17"/>
                <a:gd name="T10" fmla="*/ 21 w 10"/>
                <a:gd name="T11" fmla="*/ 35 h 17"/>
                <a:gd name="T12" fmla="*/ 14 w 10"/>
                <a:gd name="T13" fmla="*/ 40 h 17"/>
                <a:gd name="T14" fmla="*/ 5 w 10"/>
                <a:gd name="T15" fmla="*/ 2 h 1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0" h="17">
                  <a:moveTo>
                    <a:pt x="2" y="1"/>
                  </a:moveTo>
                  <a:cubicBezTo>
                    <a:pt x="4" y="0"/>
                    <a:pt x="5" y="3"/>
                    <a:pt x="5" y="4"/>
                  </a:cubicBezTo>
                  <a:cubicBezTo>
                    <a:pt x="6" y="5"/>
                    <a:pt x="6" y="4"/>
                    <a:pt x="6" y="6"/>
                  </a:cubicBezTo>
                  <a:cubicBezTo>
                    <a:pt x="7" y="7"/>
                    <a:pt x="9" y="7"/>
                    <a:pt x="9" y="8"/>
                  </a:cubicBezTo>
                  <a:cubicBezTo>
                    <a:pt x="9" y="9"/>
                    <a:pt x="8" y="9"/>
                    <a:pt x="8" y="9"/>
                  </a:cubicBezTo>
                  <a:cubicBezTo>
                    <a:pt x="7" y="10"/>
                    <a:pt x="10" y="12"/>
                    <a:pt x="9" y="15"/>
                  </a:cubicBezTo>
                  <a:cubicBezTo>
                    <a:pt x="7" y="15"/>
                    <a:pt x="7" y="16"/>
                    <a:pt x="6" y="17"/>
                  </a:cubicBezTo>
                  <a:cubicBezTo>
                    <a:pt x="0" y="15"/>
                    <a:pt x="1" y="8"/>
                    <a:pt x="2"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5" name="Freeform 67"/>
            <p:cNvSpPr/>
            <p:nvPr/>
          </p:nvSpPr>
          <p:spPr bwMode="auto">
            <a:xfrm>
              <a:off x="6304313" y="2937594"/>
              <a:ext cx="46038" cy="71437"/>
            </a:xfrm>
            <a:custGeom>
              <a:avLst/>
              <a:gdLst>
                <a:gd name="T0" fmla="*/ 24 w 12"/>
                <a:gd name="T1" fmla="*/ 0 h 19"/>
                <a:gd name="T2" fmla="*/ 29 w 12"/>
                <a:gd name="T3" fmla="*/ 21 h 19"/>
                <a:gd name="T4" fmla="*/ 22 w 12"/>
                <a:gd name="T5" fmla="*/ 24 h 19"/>
                <a:gd name="T6" fmla="*/ 22 w 12"/>
                <a:gd name="T7" fmla="*/ 45 h 19"/>
                <a:gd name="T8" fmla="*/ 7 w 12"/>
                <a:gd name="T9" fmla="*/ 36 h 19"/>
                <a:gd name="T10" fmla="*/ 10 w 12"/>
                <a:gd name="T11" fmla="*/ 24 h 19"/>
                <a:gd name="T12" fmla="*/ 10 w 12"/>
                <a:gd name="T13" fmla="*/ 19 h 19"/>
                <a:gd name="T14" fmla="*/ 7 w 12"/>
                <a:gd name="T15" fmla="*/ 19 h 19"/>
                <a:gd name="T16" fmla="*/ 12 w 12"/>
                <a:gd name="T17" fmla="*/ 12 h 19"/>
                <a:gd name="T18" fmla="*/ 19 w 12"/>
                <a:gd name="T19" fmla="*/ 2 h 19"/>
                <a:gd name="T20" fmla="*/ 24 w 12"/>
                <a:gd name="T21" fmla="*/ 0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2" h="19">
                  <a:moveTo>
                    <a:pt x="10" y="0"/>
                  </a:moveTo>
                  <a:cubicBezTo>
                    <a:pt x="10" y="4"/>
                    <a:pt x="10" y="8"/>
                    <a:pt x="12" y="9"/>
                  </a:cubicBezTo>
                  <a:cubicBezTo>
                    <a:pt x="12" y="11"/>
                    <a:pt x="10" y="10"/>
                    <a:pt x="9" y="10"/>
                  </a:cubicBezTo>
                  <a:cubicBezTo>
                    <a:pt x="11" y="12"/>
                    <a:pt x="8" y="14"/>
                    <a:pt x="9" y="19"/>
                  </a:cubicBezTo>
                  <a:cubicBezTo>
                    <a:pt x="5" y="19"/>
                    <a:pt x="6" y="15"/>
                    <a:pt x="3" y="15"/>
                  </a:cubicBezTo>
                  <a:cubicBezTo>
                    <a:pt x="2" y="13"/>
                    <a:pt x="4" y="12"/>
                    <a:pt x="4" y="10"/>
                  </a:cubicBezTo>
                  <a:cubicBezTo>
                    <a:pt x="4" y="9"/>
                    <a:pt x="2" y="8"/>
                    <a:pt x="4" y="8"/>
                  </a:cubicBezTo>
                  <a:cubicBezTo>
                    <a:pt x="4" y="7"/>
                    <a:pt x="3" y="7"/>
                    <a:pt x="3" y="8"/>
                  </a:cubicBezTo>
                  <a:cubicBezTo>
                    <a:pt x="0" y="8"/>
                    <a:pt x="3" y="3"/>
                    <a:pt x="5" y="5"/>
                  </a:cubicBezTo>
                  <a:cubicBezTo>
                    <a:pt x="5" y="3"/>
                    <a:pt x="7" y="2"/>
                    <a:pt x="8" y="1"/>
                  </a:cubicBezTo>
                  <a:cubicBezTo>
                    <a:pt x="8" y="1"/>
                    <a:pt x="9" y="0"/>
                    <a:pt x="10"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6" name="Freeform 68"/>
            <p:cNvSpPr/>
            <p:nvPr/>
          </p:nvSpPr>
          <p:spPr bwMode="auto">
            <a:xfrm>
              <a:off x="6267800" y="2948707"/>
              <a:ext cx="36513" cy="34925"/>
            </a:xfrm>
            <a:custGeom>
              <a:avLst/>
              <a:gdLst>
                <a:gd name="T0" fmla="*/ 14 w 10"/>
                <a:gd name="T1" fmla="*/ 0 h 9"/>
                <a:gd name="T2" fmla="*/ 21 w 10"/>
                <a:gd name="T3" fmla="*/ 10 h 9"/>
                <a:gd name="T4" fmla="*/ 18 w 10"/>
                <a:gd name="T5" fmla="*/ 12 h 9"/>
                <a:gd name="T6" fmla="*/ 2 w 10"/>
                <a:gd name="T7" fmla="*/ 22 h 9"/>
                <a:gd name="T8" fmla="*/ 14 w 10"/>
                <a:gd name="T9" fmla="*/ 0 h 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 h="9">
                  <a:moveTo>
                    <a:pt x="6" y="0"/>
                  </a:moveTo>
                  <a:cubicBezTo>
                    <a:pt x="8" y="0"/>
                    <a:pt x="10" y="1"/>
                    <a:pt x="9" y="4"/>
                  </a:cubicBezTo>
                  <a:cubicBezTo>
                    <a:pt x="7" y="4"/>
                    <a:pt x="7" y="5"/>
                    <a:pt x="8" y="5"/>
                  </a:cubicBezTo>
                  <a:cubicBezTo>
                    <a:pt x="7" y="6"/>
                    <a:pt x="4" y="8"/>
                    <a:pt x="1" y="9"/>
                  </a:cubicBezTo>
                  <a:cubicBezTo>
                    <a:pt x="0" y="4"/>
                    <a:pt x="6" y="5"/>
                    <a:pt x="6"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7" name="Freeform 69"/>
            <p:cNvSpPr/>
            <p:nvPr/>
          </p:nvSpPr>
          <p:spPr bwMode="auto">
            <a:xfrm>
              <a:off x="6369400" y="3066182"/>
              <a:ext cx="22225" cy="44450"/>
            </a:xfrm>
            <a:custGeom>
              <a:avLst/>
              <a:gdLst>
                <a:gd name="T0" fmla="*/ 2 w 6"/>
                <a:gd name="T1" fmla="*/ 0 h 12"/>
                <a:gd name="T2" fmla="*/ 14 w 6"/>
                <a:gd name="T3" fmla="*/ 7 h 12"/>
                <a:gd name="T4" fmla="*/ 0 w 6"/>
                <a:gd name="T5" fmla="*/ 26 h 12"/>
                <a:gd name="T6" fmla="*/ 5 w 6"/>
                <a:gd name="T7" fmla="*/ 21 h 12"/>
                <a:gd name="T8" fmla="*/ 2 w 6"/>
                <a:gd name="T9" fmla="*/ 0 h 1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12">
                  <a:moveTo>
                    <a:pt x="1" y="0"/>
                  </a:moveTo>
                  <a:cubicBezTo>
                    <a:pt x="4" y="0"/>
                    <a:pt x="2" y="5"/>
                    <a:pt x="6" y="3"/>
                  </a:cubicBezTo>
                  <a:cubicBezTo>
                    <a:pt x="5" y="7"/>
                    <a:pt x="5" y="12"/>
                    <a:pt x="0" y="11"/>
                  </a:cubicBezTo>
                  <a:cubicBezTo>
                    <a:pt x="0" y="9"/>
                    <a:pt x="1" y="10"/>
                    <a:pt x="2" y="9"/>
                  </a:cubicBezTo>
                  <a:cubicBezTo>
                    <a:pt x="1" y="5"/>
                    <a:pt x="0" y="6"/>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8" name="Freeform 70"/>
            <p:cNvSpPr/>
            <p:nvPr/>
          </p:nvSpPr>
          <p:spPr bwMode="auto">
            <a:xfrm>
              <a:off x="6229700" y="3077294"/>
              <a:ext cx="90488" cy="30162"/>
            </a:xfrm>
            <a:custGeom>
              <a:avLst/>
              <a:gdLst>
                <a:gd name="T0" fmla="*/ 57 w 24"/>
                <a:gd name="T1" fmla="*/ 7 h 8"/>
                <a:gd name="T2" fmla="*/ 40 w 24"/>
                <a:gd name="T3" fmla="*/ 14 h 8"/>
                <a:gd name="T4" fmla="*/ 0 w 24"/>
                <a:gd name="T5" fmla="*/ 19 h 8"/>
                <a:gd name="T6" fmla="*/ 48 w 24"/>
                <a:gd name="T7" fmla="*/ 5 h 8"/>
                <a:gd name="T8" fmla="*/ 57 w 24"/>
                <a:gd name="T9" fmla="*/ 7 h 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4" h="8">
                  <a:moveTo>
                    <a:pt x="24" y="3"/>
                  </a:moveTo>
                  <a:cubicBezTo>
                    <a:pt x="24" y="6"/>
                    <a:pt x="20" y="6"/>
                    <a:pt x="17" y="6"/>
                  </a:cubicBezTo>
                  <a:cubicBezTo>
                    <a:pt x="12" y="7"/>
                    <a:pt x="5" y="6"/>
                    <a:pt x="0" y="8"/>
                  </a:cubicBezTo>
                  <a:cubicBezTo>
                    <a:pt x="1" y="0"/>
                    <a:pt x="18" y="8"/>
                    <a:pt x="20" y="2"/>
                  </a:cubicBezTo>
                  <a:cubicBezTo>
                    <a:pt x="21" y="2"/>
                    <a:pt x="22" y="3"/>
                    <a:pt x="24"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69" name="Freeform 71"/>
            <p:cNvSpPr/>
            <p:nvPr/>
          </p:nvSpPr>
          <p:spPr bwMode="auto">
            <a:xfrm>
              <a:off x="6424963" y="3110632"/>
              <a:ext cx="60325" cy="38100"/>
            </a:xfrm>
            <a:custGeom>
              <a:avLst/>
              <a:gdLst>
                <a:gd name="T0" fmla="*/ 38 w 16"/>
                <a:gd name="T1" fmla="*/ 17 h 10"/>
                <a:gd name="T2" fmla="*/ 31 w 16"/>
                <a:gd name="T3" fmla="*/ 22 h 10"/>
                <a:gd name="T4" fmla="*/ 14 w 16"/>
                <a:gd name="T5" fmla="*/ 22 h 10"/>
                <a:gd name="T6" fmla="*/ 12 w 16"/>
                <a:gd name="T7" fmla="*/ 19 h 10"/>
                <a:gd name="T8" fmla="*/ 0 w 16"/>
                <a:gd name="T9" fmla="*/ 10 h 10"/>
                <a:gd name="T10" fmla="*/ 14 w 16"/>
                <a:gd name="T11" fmla="*/ 5 h 10"/>
                <a:gd name="T12" fmla="*/ 24 w 16"/>
                <a:gd name="T13" fmla="*/ 2 h 10"/>
                <a:gd name="T14" fmla="*/ 24 w 16"/>
                <a:gd name="T15" fmla="*/ 5 h 10"/>
                <a:gd name="T16" fmla="*/ 26 w 16"/>
                <a:gd name="T17" fmla="*/ 2 h 10"/>
                <a:gd name="T18" fmla="*/ 38 w 16"/>
                <a:gd name="T19" fmla="*/ 1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6" h="10">
                  <a:moveTo>
                    <a:pt x="16" y="7"/>
                  </a:moveTo>
                  <a:cubicBezTo>
                    <a:pt x="15" y="7"/>
                    <a:pt x="13" y="8"/>
                    <a:pt x="13" y="9"/>
                  </a:cubicBezTo>
                  <a:cubicBezTo>
                    <a:pt x="11" y="7"/>
                    <a:pt x="9" y="10"/>
                    <a:pt x="6" y="9"/>
                  </a:cubicBezTo>
                  <a:cubicBezTo>
                    <a:pt x="6" y="9"/>
                    <a:pt x="6" y="8"/>
                    <a:pt x="5" y="8"/>
                  </a:cubicBezTo>
                  <a:cubicBezTo>
                    <a:pt x="4" y="8"/>
                    <a:pt x="2" y="5"/>
                    <a:pt x="0" y="4"/>
                  </a:cubicBezTo>
                  <a:cubicBezTo>
                    <a:pt x="1" y="3"/>
                    <a:pt x="4" y="3"/>
                    <a:pt x="6" y="2"/>
                  </a:cubicBezTo>
                  <a:cubicBezTo>
                    <a:pt x="6" y="2"/>
                    <a:pt x="9" y="0"/>
                    <a:pt x="10" y="1"/>
                  </a:cubicBezTo>
                  <a:cubicBezTo>
                    <a:pt x="10" y="1"/>
                    <a:pt x="10" y="2"/>
                    <a:pt x="10" y="2"/>
                  </a:cubicBezTo>
                  <a:cubicBezTo>
                    <a:pt x="10" y="2"/>
                    <a:pt x="11" y="1"/>
                    <a:pt x="11" y="1"/>
                  </a:cubicBezTo>
                  <a:cubicBezTo>
                    <a:pt x="13" y="2"/>
                    <a:pt x="15" y="4"/>
                    <a:pt x="16" y="7"/>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0" name="Freeform 72"/>
            <p:cNvSpPr/>
            <p:nvPr/>
          </p:nvSpPr>
          <p:spPr bwMode="auto">
            <a:xfrm>
              <a:off x="6458300" y="3132857"/>
              <a:ext cx="319088" cy="168275"/>
            </a:xfrm>
            <a:custGeom>
              <a:avLst/>
              <a:gdLst>
                <a:gd name="T0" fmla="*/ 66 w 85"/>
                <a:gd name="T1" fmla="*/ 52 h 45"/>
                <a:gd name="T2" fmla="*/ 54 w 85"/>
                <a:gd name="T3" fmla="*/ 47 h 45"/>
                <a:gd name="T4" fmla="*/ 50 w 85"/>
                <a:gd name="T5" fmla="*/ 35 h 45"/>
                <a:gd name="T6" fmla="*/ 19 w 85"/>
                <a:gd name="T7" fmla="*/ 26 h 45"/>
                <a:gd name="T8" fmla="*/ 2 w 85"/>
                <a:gd name="T9" fmla="*/ 26 h 45"/>
                <a:gd name="T10" fmla="*/ 0 w 85"/>
                <a:gd name="T11" fmla="*/ 16 h 45"/>
                <a:gd name="T12" fmla="*/ 7 w 85"/>
                <a:gd name="T13" fmla="*/ 16 h 45"/>
                <a:gd name="T14" fmla="*/ 17 w 85"/>
                <a:gd name="T15" fmla="*/ 14 h 45"/>
                <a:gd name="T16" fmla="*/ 28 w 85"/>
                <a:gd name="T17" fmla="*/ 19 h 45"/>
                <a:gd name="T18" fmla="*/ 40 w 85"/>
                <a:gd name="T19" fmla="*/ 9 h 45"/>
                <a:gd name="T20" fmla="*/ 64 w 85"/>
                <a:gd name="T21" fmla="*/ 2 h 45"/>
                <a:gd name="T22" fmla="*/ 69 w 85"/>
                <a:gd name="T23" fmla="*/ 7 h 45"/>
                <a:gd name="T24" fmla="*/ 90 w 85"/>
                <a:gd name="T25" fmla="*/ 16 h 45"/>
                <a:gd name="T26" fmla="*/ 97 w 85"/>
                <a:gd name="T27" fmla="*/ 14 h 45"/>
                <a:gd name="T28" fmla="*/ 102 w 85"/>
                <a:gd name="T29" fmla="*/ 19 h 45"/>
                <a:gd name="T30" fmla="*/ 116 w 85"/>
                <a:gd name="T31" fmla="*/ 19 h 45"/>
                <a:gd name="T32" fmla="*/ 128 w 85"/>
                <a:gd name="T33" fmla="*/ 24 h 45"/>
                <a:gd name="T34" fmla="*/ 128 w 85"/>
                <a:gd name="T35" fmla="*/ 33 h 45"/>
                <a:gd name="T36" fmla="*/ 132 w 85"/>
                <a:gd name="T37" fmla="*/ 31 h 45"/>
                <a:gd name="T38" fmla="*/ 135 w 85"/>
                <a:gd name="T39" fmla="*/ 38 h 45"/>
                <a:gd name="T40" fmla="*/ 149 w 85"/>
                <a:gd name="T41" fmla="*/ 47 h 45"/>
                <a:gd name="T42" fmla="*/ 173 w 85"/>
                <a:gd name="T43" fmla="*/ 54 h 45"/>
                <a:gd name="T44" fmla="*/ 168 w 85"/>
                <a:gd name="T45" fmla="*/ 64 h 45"/>
                <a:gd name="T46" fmla="*/ 177 w 85"/>
                <a:gd name="T47" fmla="*/ 68 h 45"/>
                <a:gd name="T48" fmla="*/ 177 w 85"/>
                <a:gd name="T49" fmla="*/ 73 h 45"/>
                <a:gd name="T50" fmla="*/ 189 w 85"/>
                <a:gd name="T51" fmla="*/ 85 h 45"/>
                <a:gd name="T52" fmla="*/ 201 w 85"/>
                <a:gd name="T53" fmla="*/ 99 h 45"/>
                <a:gd name="T54" fmla="*/ 182 w 85"/>
                <a:gd name="T55" fmla="*/ 99 h 45"/>
                <a:gd name="T56" fmla="*/ 166 w 85"/>
                <a:gd name="T57" fmla="*/ 87 h 45"/>
                <a:gd name="T58" fmla="*/ 161 w 85"/>
                <a:gd name="T59" fmla="*/ 82 h 45"/>
                <a:gd name="T60" fmla="*/ 158 w 85"/>
                <a:gd name="T61" fmla="*/ 80 h 45"/>
                <a:gd name="T62" fmla="*/ 149 w 85"/>
                <a:gd name="T63" fmla="*/ 71 h 45"/>
                <a:gd name="T64" fmla="*/ 128 w 85"/>
                <a:gd name="T65" fmla="*/ 68 h 45"/>
                <a:gd name="T66" fmla="*/ 116 w 85"/>
                <a:gd name="T67" fmla="*/ 94 h 45"/>
                <a:gd name="T68" fmla="*/ 99 w 85"/>
                <a:gd name="T69" fmla="*/ 87 h 45"/>
                <a:gd name="T70" fmla="*/ 90 w 85"/>
                <a:gd name="T71" fmla="*/ 85 h 45"/>
                <a:gd name="T72" fmla="*/ 80 w 85"/>
                <a:gd name="T73" fmla="*/ 71 h 45"/>
                <a:gd name="T74" fmla="*/ 69 w 85"/>
                <a:gd name="T75" fmla="*/ 82 h 45"/>
                <a:gd name="T76" fmla="*/ 59 w 85"/>
                <a:gd name="T77" fmla="*/ 78 h 45"/>
                <a:gd name="T78" fmla="*/ 69 w 85"/>
                <a:gd name="T79" fmla="*/ 68 h 45"/>
                <a:gd name="T80" fmla="*/ 73 w 85"/>
                <a:gd name="T81" fmla="*/ 57 h 45"/>
                <a:gd name="T82" fmla="*/ 71 w 85"/>
                <a:gd name="T83" fmla="*/ 64 h 45"/>
                <a:gd name="T84" fmla="*/ 66 w 85"/>
                <a:gd name="T85" fmla="*/ 52 h 4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85" h="45">
                  <a:moveTo>
                    <a:pt x="28" y="22"/>
                  </a:moveTo>
                  <a:cubicBezTo>
                    <a:pt x="25" y="22"/>
                    <a:pt x="26" y="19"/>
                    <a:pt x="23" y="20"/>
                  </a:cubicBezTo>
                  <a:cubicBezTo>
                    <a:pt x="22" y="18"/>
                    <a:pt x="21" y="17"/>
                    <a:pt x="21" y="15"/>
                  </a:cubicBezTo>
                  <a:cubicBezTo>
                    <a:pt x="16" y="15"/>
                    <a:pt x="11" y="14"/>
                    <a:pt x="8" y="11"/>
                  </a:cubicBezTo>
                  <a:cubicBezTo>
                    <a:pt x="4" y="13"/>
                    <a:pt x="5" y="12"/>
                    <a:pt x="1" y="11"/>
                  </a:cubicBezTo>
                  <a:cubicBezTo>
                    <a:pt x="1" y="10"/>
                    <a:pt x="1" y="7"/>
                    <a:pt x="0" y="7"/>
                  </a:cubicBezTo>
                  <a:cubicBezTo>
                    <a:pt x="0" y="4"/>
                    <a:pt x="2" y="7"/>
                    <a:pt x="3" y="7"/>
                  </a:cubicBezTo>
                  <a:cubicBezTo>
                    <a:pt x="5" y="7"/>
                    <a:pt x="5" y="5"/>
                    <a:pt x="7" y="6"/>
                  </a:cubicBezTo>
                  <a:cubicBezTo>
                    <a:pt x="9" y="6"/>
                    <a:pt x="10" y="8"/>
                    <a:pt x="12" y="8"/>
                  </a:cubicBezTo>
                  <a:cubicBezTo>
                    <a:pt x="15" y="9"/>
                    <a:pt x="16" y="5"/>
                    <a:pt x="17" y="4"/>
                  </a:cubicBezTo>
                  <a:cubicBezTo>
                    <a:pt x="20" y="3"/>
                    <a:pt x="24" y="3"/>
                    <a:pt x="27" y="1"/>
                  </a:cubicBezTo>
                  <a:cubicBezTo>
                    <a:pt x="29" y="0"/>
                    <a:pt x="28" y="3"/>
                    <a:pt x="29" y="3"/>
                  </a:cubicBezTo>
                  <a:cubicBezTo>
                    <a:pt x="31" y="4"/>
                    <a:pt x="39" y="2"/>
                    <a:pt x="38" y="7"/>
                  </a:cubicBezTo>
                  <a:cubicBezTo>
                    <a:pt x="40" y="8"/>
                    <a:pt x="41" y="5"/>
                    <a:pt x="41" y="6"/>
                  </a:cubicBezTo>
                  <a:cubicBezTo>
                    <a:pt x="42" y="6"/>
                    <a:pt x="42" y="8"/>
                    <a:pt x="43" y="8"/>
                  </a:cubicBezTo>
                  <a:cubicBezTo>
                    <a:pt x="45" y="9"/>
                    <a:pt x="47" y="7"/>
                    <a:pt x="49" y="8"/>
                  </a:cubicBezTo>
                  <a:cubicBezTo>
                    <a:pt x="50" y="8"/>
                    <a:pt x="50" y="12"/>
                    <a:pt x="54" y="10"/>
                  </a:cubicBezTo>
                  <a:cubicBezTo>
                    <a:pt x="55" y="12"/>
                    <a:pt x="54" y="12"/>
                    <a:pt x="54" y="14"/>
                  </a:cubicBezTo>
                  <a:cubicBezTo>
                    <a:pt x="55" y="14"/>
                    <a:pt x="56" y="13"/>
                    <a:pt x="56" y="13"/>
                  </a:cubicBezTo>
                  <a:cubicBezTo>
                    <a:pt x="57" y="13"/>
                    <a:pt x="57" y="15"/>
                    <a:pt x="57" y="16"/>
                  </a:cubicBezTo>
                  <a:cubicBezTo>
                    <a:pt x="58" y="18"/>
                    <a:pt x="61" y="18"/>
                    <a:pt x="63" y="20"/>
                  </a:cubicBezTo>
                  <a:cubicBezTo>
                    <a:pt x="64" y="20"/>
                    <a:pt x="69" y="23"/>
                    <a:pt x="73" y="23"/>
                  </a:cubicBezTo>
                  <a:cubicBezTo>
                    <a:pt x="73" y="25"/>
                    <a:pt x="71" y="25"/>
                    <a:pt x="71" y="27"/>
                  </a:cubicBezTo>
                  <a:cubicBezTo>
                    <a:pt x="72" y="28"/>
                    <a:pt x="74" y="28"/>
                    <a:pt x="75" y="29"/>
                  </a:cubicBezTo>
                  <a:cubicBezTo>
                    <a:pt x="75" y="29"/>
                    <a:pt x="74" y="31"/>
                    <a:pt x="75" y="31"/>
                  </a:cubicBezTo>
                  <a:cubicBezTo>
                    <a:pt x="76" y="33"/>
                    <a:pt x="78" y="34"/>
                    <a:pt x="80" y="36"/>
                  </a:cubicBezTo>
                  <a:cubicBezTo>
                    <a:pt x="81" y="38"/>
                    <a:pt x="82" y="41"/>
                    <a:pt x="85" y="42"/>
                  </a:cubicBezTo>
                  <a:cubicBezTo>
                    <a:pt x="83" y="45"/>
                    <a:pt x="79" y="42"/>
                    <a:pt x="77" y="42"/>
                  </a:cubicBezTo>
                  <a:cubicBezTo>
                    <a:pt x="75" y="41"/>
                    <a:pt x="73" y="40"/>
                    <a:pt x="70" y="37"/>
                  </a:cubicBezTo>
                  <a:cubicBezTo>
                    <a:pt x="69" y="37"/>
                    <a:pt x="69" y="36"/>
                    <a:pt x="68" y="35"/>
                  </a:cubicBezTo>
                  <a:cubicBezTo>
                    <a:pt x="67" y="34"/>
                    <a:pt x="67" y="35"/>
                    <a:pt x="67" y="34"/>
                  </a:cubicBezTo>
                  <a:cubicBezTo>
                    <a:pt x="67" y="34"/>
                    <a:pt x="63" y="30"/>
                    <a:pt x="63" y="30"/>
                  </a:cubicBezTo>
                  <a:cubicBezTo>
                    <a:pt x="60" y="29"/>
                    <a:pt x="57" y="31"/>
                    <a:pt x="54" y="29"/>
                  </a:cubicBezTo>
                  <a:cubicBezTo>
                    <a:pt x="51" y="32"/>
                    <a:pt x="50" y="36"/>
                    <a:pt x="49" y="40"/>
                  </a:cubicBezTo>
                  <a:cubicBezTo>
                    <a:pt x="48" y="38"/>
                    <a:pt x="44" y="39"/>
                    <a:pt x="42" y="37"/>
                  </a:cubicBezTo>
                  <a:cubicBezTo>
                    <a:pt x="40" y="36"/>
                    <a:pt x="43" y="34"/>
                    <a:pt x="38" y="36"/>
                  </a:cubicBezTo>
                  <a:cubicBezTo>
                    <a:pt x="41" y="30"/>
                    <a:pt x="32" y="35"/>
                    <a:pt x="34" y="30"/>
                  </a:cubicBezTo>
                  <a:cubicBezTo>
                    <a:pt x="31" y="31"/>
                    <a:pt x="28" y="31"/>
                    <a:pt x="29" y="35"/>
                  </a:cubicBezTo>
                  <a:cubicBezTo>
                    <a:pt x="28" y="34"/>
                    <a:pt x="28" y="32"/>
                    <a:pt x="25" y="33"/>
                  </a:cubicBezTo>
                  <a:cubicBezTo>
                    <a:pt x="26" y="31"/>
                    <a:pt x="28" y="30"/>
                    <a:pt x="29" y="29"/>
                  </a:cubicBezTo>
                  <a:cubicBezTo>
                    <a:pt x="30" y="28"/>
                    <a:pt x="32" y="28"/>
                    <a:pt x="31" y="24"/>
                  </a:cubicBezTo>
                  <a:cubicBezTo>
                    <a:pt x="30" y="24"/>
                    <a:pt x="30" y="27"/>
                    <a:pt x="30" y="27"/>
                  </a:cubicBezTo>
                  <a:cubicBezTo>
                    <a:pt x="28" y="26"/>
                    <a:pt x="29" y="19"/>
                    <a:pt x="28" y="2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1" name="Freeform 73"/>
            <p:cNvSpPr/>
            <p:nvPr/>
          </p:nvSpPr>
          <p:spPr bwMode="auto">
            <a:xfrm>
              <a:off x="6380513" y="3151907"/>
              <a:ext cx="33338" cy="30162"/>
            </a:xfrm>
            <a:custGeom>
              <a:avLst/>
              <a:gdLst>
                <a:gd name="T0" fmla="*/ 21 w 9"/>
                <a:gd name="T1" fmla="*/ 7 h 8"/>
                <a:gd name="T2" fmla="*/ 0 w 9"/>
                <a:gd name="T3" fmla="*/ 10 h 8"/>
                <a:gd name="T4" fmla="*/ 21 w 9"/>
                <a:gd name="T5" fmla="*/ 7 h 8"/>
                <a:gd name="T6" fmla="*/ 0 60000 65536"/>
                <a:gd name="T7" fmla="*/ 0 60000 65536"/>
                <a:gd name="T8" fmla="*/ 0 60000 65536"/>
              </a:gdLst>
              <a:ahLst/>
              <a:cxnLst>
                <a:cxn ang="T6">
                  <a:pos x="T0" y="T1"/>
                </a:cxn>
                <a:cxn ang="T7">
                  <a:pos x="T2" y="T3"/>
                </a:cxn>
                <a:cxn ang="T8">
                  <a:pos x="T4" y="T5"/>
                </a:cxn>
              </a:cxnLst>
              <a:rect l="0" t="0" r="r" b="b"/>
              <a:pathLst>
                <a:path w="9" h="8">
                  <a:moveTo>
                    <a:pt x="9" y="3"/>
                  </a:moveTo>
                  <a:cubicBezTo>
                    <a:pt x="9" y="8"/>
                    <a:pt x="2" y="4"/>
                    <a:pt x="0" y="4"/>
                  </a:cubicBezTo>
                  <a:cubicBezTo>
                    <a:pt x="2" y="3"/>
                    <a:pt x="7" y="0"/>
                    <a:pt x="9"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2" name="Freeform 74"/>
            <p:cNvSpPr/>
            <p:nvPr/>
          </p:nvSpPr>
          <p:spPr bwMode="auto">
            <a:xfrm>
              <a:off x="6339238" y="3159844"/>
              <a:ext cx="22225" cy="11112"/>
            </a:xfrm>
            <a:custGeom>
              <a:avLst/>
              <a:gdLst>
                <a:gd name="T0" fmla="*/ 2 w 6"/>
                <a:gd name="T1" fmla="*/ 5 h 3"/>
                <a:gd name="T2" fmla="*/ 9 w 6"/>
                <a:gd name="T3" fmla="*/ 7 h 3"/>
                <a:gd name="T4" fmla="*/ 5 w 6"/>
                <a:gd name="T5" fmla="*/ 7 h 3"/>
                <a:gd name="T6" fmla="*/ 2 w 6"/>
                <a:gd name="T7" fmla="*/ 5 h 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3">
                  <a:moveTo>
                    <a:pt x="1" y="2"/>
                  </a:moveTo>
                  <a:cubicBezTo>
                    <a:pt x="0" y="0"/>
                    <a:pt x="6" y="0"/>
                    <a:pt x="4" y="3"/>
                  </a:cubicBezTo>
                  <a:cubicBezTo>
                    <a:pt x="4" y="3"/>
                    <a:pt x="3" y="3"/>
                    <a:pt x="2" y="3"/>
                  </a:cubicBezTo>
                  <a:cubicBezTo>
                    <a:pt x="2" y="2"/>
                    <a:pt x="2" y="2"/>
                    <a:pt x="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3" name="Freeform 75"/>
            <p:cNvSpPr/>
            <p:nvPr/>
          </p:nvSpPr>
          <p:spPr bwMode="auto">
            <a:xfrm>
              <a:off x="6750400" y="3185244"/>
              <a:ext cx="65088" cy="46037"/>
            </a:xfrm>
            <a:custGeom>
              <a:avLst/>
              <a:gdLst>
                <a:gd name="T0" fmla="*/ 31 w 17"/>
                <a:gd name="T1" fmla="*/ 0 h 12"/>
                <a:gd name="T2" fmla="*/ 41 w 17"/>
                <a:gd name="T3" fmla="*/ 0 h 12"/>
                <a:gd name="T4" fmla="*/ 41 w 17"/>
                <a:gd name="T5" fmla="*/ 7 h 12"/>
                <a:gd name="T6" fmla="*/ 36 w 17"/>
                <a:gd name="T7" fmla="*/ 10 h 12"/>
                <a:gd name="T8" fmla="*/ 36 w 17"/>
                <a:gd name="T9" fmla="*/ 19 h 12"/>
                <a:gd name="T10" fmla="*/ 29 w 17"/>
                <a:gd name="T11" fmla="*/ 22 h 12"/>
                <a:gd name="T12" fmla="*/ 5 w 17"/>
                <a:gd name="T13" fmla="*/ 15 h 12"/>
                <a:gd name="T14" fmla="*/ 31 w 17"/>
                <a:gd name="T15" fmla="*/ 0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 h="12">
                  <a:moveTo>
                    <a:pt x="13" y="0"/>
                  </a:moveTo>
                  <a:cubicBezTo>
                    <a:pt x="15" y="0"/>
                    <a:pt x="16" y="0"/>
                    <a:pt x="17" y="0"/>
                  </a:cubicBezTo>
                  <a:cubicBezTo>
                    <a:pt x="17" y="1"/>
                    <a:pt x="17" y="2"/>
                    <a:pt x="17" y="3"/>
                  </a:cubicBezTo>
                  <a:cubicBezTo>
                    <a:pt x="17" y="4"/>
                    <a:pt x="15" y="4"/>
                    <a:pt x="15" y="4"/>
                  </a:cubicBezTo>
                  <a:cubicBezTo>
                    <a:pt x="14" y="5"/>
                    <a:pt x="16" y="7"/>
                    <a:pt x="15" y="8"/>
                  </a:cubicBezTo>
                  <a:cubicBezTo>
                    <a:pt x="13" y="7"/>
                    <a:pt x="12" y="7"/>
                    <a:pt x="12" y="9"/>
                  </a:cubicBezTo>
                  <a:cubicBezTo>
                    <a:pt x="8" y="8"/>
                    <a:pt x="0" y="12"/>
                    <a:pt x="2" y="6"/>
                  </a:cubicBezTo>
                  <a:cubicBezTo>
                    <a:pt x="8" y="8"/>
                    <a:pt x="12" y="5"/>
                    <a:pt x="13"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4" name="Freeform 76"/>
            <p:cNvSpPr/>
            <p:nvPr/>
          </p:nvSpPr>
          <p:spPr bwMode="auto">
            <a:xfrm>
              <a:off x="6177313" y="3253507"/>
              <a:ext cx="38100" cy="17462"/>
            </a:xfrm>
            <a:custGeom>
              <a:avLst/>
              <a:gdLst>
                <a:gd name="T0" fmla="*/ 24 w 10"/>
                <a:gd name="T1" fmla="*/ 2 h 5"/>
                <a:gd name="T2" fmla="*/ 0 w 10"/>
                <a:gd name="T3" fmla="*/ 9 h 5"/>
                <a:gd name="T4" fmla="*/ 24 w 10"/>
                <a:gd name="T5" fmla="*/ 2 h 5"/>
                <a:gd name="T6" fmla="*/ 0 60000 65536"/>
                <a:gd name="T7" fmla="*/ 0 60000 65536"/>
                <a:gd name="T8" fmla="*/ 0 60000 65536"/>
              </a:gdLst>
              <a:ahLst/>
              <a:cxnLst>
                <a:cxn ang="T6">
                  <a:pos x="T0" y="T1"/>
                </a:cxn>
                <a:cxn ang="T7">
                  <a:pos x="T2" y="T3"/>
                </a:cxn>
                <a:cxn ang="T8">
                  <a:pos x="T4" y="T5"/>
                </a:cxn>
              </a:cxnLst>
              <a:rect l="0" t="0" r="r" b="b"/>
              <a:pathLst>
                <a:path w="10" h="5">
                  <a:moveTo>
                    <a:pt x="10" y="1"/>
                  </a:moveTo>
                  <a:cubicBezTo>
                    <a:pt x="8" y="3"/>
                    <a:pt x="5" y="5"/>
                    <a:pt x="0" y="4"/>
                  </a:cubicBezTo>
                  <a:cubicBezTo>
                    <a:pt x="1" y="0"/>
                    <a:pt x="6" y="1"/>
                    <a:pt x="1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5" name="Freeform 77"/>
            <p:cNvSpPr/>
            <p:nvPr/>
          </p:nvSpPr>
          <p:spPr bwMode="auto">
            <a:xfrm>
              <a:off x="6229700" y="3253507"/>
              <a:ext cx="38100" cy="11112"/>
            </a:xfrm>
            <a:custGeom>
              <a:avLst/>
              <a:gdLst>
                <a:gd name="T0" fmla="*/ 24 w 10"/>
                <a:gd name="T1" fmla="*/ 2 h 3"/>
                <a:gd name="T2" fmla="*/ 0 w 10"/>
                <a:gd name="T3" fmla="*/ 7 h 3"/>
                <a:gd name="T4" fmla="*/ 24 w 10"/>
                <a:gd name="T5" fmla="*/ 2 h 3"/>
                <a:gd name="T6" fmla="*/ 0 60000 65536"/>
                <a:gd name="T7" fmla="*/ 0 60000 65536"/>
                <a:gd name="T8" fmla="*/ 0 60000 65536"/>
              </a:gdLst>
              <a:ahLst/>
              <a:cxnLst>
                <a:cxn ang="T6">
                  <a:pos x="T0" y="T1"/>
                </a:cxn>
                <a:cxn ang="T7">
                  <a:pos x="T2" y="T3"/>
                </a:cxn>
                <a:cxn ang="T8">
                  <a:pos x="T4" y="T5"/>
                </a:cxn>
              </a:cxnLst>
              <a:rect l="0" t="0" r="r" b="b"/>
              <a:pathLst>
                <a:path w="10" h="3">
                  <a:moveTo>
                    <a:pt x="10" y="1"/>
                  </a:moveTo>
                  <a:cubicBezTo>
                    <a:pt x="9" y="3"/>
                    <a:pt x="4" y="3"/>
                    <a:pt x="0" y="3"/>
                  </a:cubicBezTo>
                  <a:cubicBezTo>
                    <a:pt x="2" y="0"/>
                    <a:pt x="6" y="1"/>
                    <a:pt x="10"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6" name="Freeform 78"/>
            <p:cNvSpPr/>
            <p:nvPr/>
          </p:nvSpPr>
          <p:spPr bwMode="auto">
            <a:xfrm>
              <a:off x="6297963" y="3253507"/>
              <a:ext cx="58738" cy="41275"/>
            </a:xfrm>
            <a:custGeom>
              <a:avLst/>
              <a:gdLst>
                <a:gd name="T0" fmla="*/ 35 w 16"/>
                <a:gd name="T1" fmla="*/ 2 h 11"/>
                <a:gd name="T2" fmla="*/ 32 w 16"/>
                <a:gd name="T3" fmla="*/ 12 h 11"/>
                <a:gd name="T4" fmla="*/ 28 w 16"/>
                <a:gd name="T5" fmla="*/ 12 h 11"/>
                <a:gd name="T6" fmla="*/ 2 w 16"/>
                <a:gd name="T7" fmla="*/ 24 h 11"/>
                <a:gd name="T8" fmla="*/ 12 w 16"/>
                <a:gd name="T9" fmla="*/ 14 h 11"/>
                <a:gd name="T10" fmla="*/ 16 w 16"/>
                <a:gd name="T11" fmla="*/ 9 h 11"/>
                <a:gd name="T12" fmla="*/ 23 w 16"/>
                <a:gd name="T13" fmla="*/ 5 h 11"/>
                <a:gd name="T14" fmla="*/ 35 w 16"/>
                <a:gd name="T15" fmla="*/ 2 h 1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6" h="11">
                  <a:moveTo>
                    <a:pt x="15" y="1"/>
                  </a:moveTo>
                  <a:cubicBezTo>
                    <a:pt x="16" y="3"/>
                    <a:pt x="15" y="4"/>
                    <a:pt x="14" y="5"/>
                  </a:cubicBezTo>
                  <a:cubicBezTo>
                    <a:pt x="14" y="6"/>
                    <a:pt x="12" y="5"/>
                    <a:pt x="12" y="5"/>
                  </a:cubicBezTo>
                  <a:cubicBezTo>
                    <a:pt x="10" y="7"/>
                    <a:pt x="7" y="11"/>
                    <a:pt x="1" y="10"/>
                  </a:cubicBezTo>
                  <a:cubicBezTo>
                    <a:pt x="0" y="7"/>
                    <a:pt x="4" y="7"/>
                    <a:pt x="5" y="6"/>
                  </a:cubicBezTo>
                  <a:cubicBezTo>
                    <a:pt x="6" y="6"/>
                    <a:pt x="6" y="5"/>
                    <a:pt x="7" y="4"/>
                  </a:cubicBezTo>
                  <a:cubicBezTo>
                    <a:pt x="8" y="3"/>
                    <a:pt x="9" y="3"/>
                    <a:pt x="10" y="2"/>
                  </a:cubicBezTo>
                  <a:cubicBezTo>
                    <a:pt x="13" y="3"/>
                    <a:pt x="13" y="0"/>
                    <a:pt x="15"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7" name="Freeform 79"/>
            <p:cNvSpPr/>
            <p:nvPr/>
          </p:nvSpPr>
          <p:spPr bwMode="auto">
            <a:xfrm>
              <a:off x="7193313" y="3759919"/>
              <a:ext cx="34925" cy="44450"/>
            </a:xfrm>
            <a:custGeom>
              <a:avLst/>
              <a:gdLst>
                <a:gd name="T0" fmla="*/ 2 w 9"/>
                <a:gd name="T1" fmla="*/ 0 h 12"/>
                <a:gd name="T2" fmla="*/ 5 w 9"/>
                <a:gd name="T3" fmla="*/ 5 h 12"/>
                <a:gd name="T4" fmla="*/ 15 w 9"/>
                <a:gd name="T5" fmla="*/ 14 h 12"/>
                <a:gd name="T6" fmla="*/ 17 w 9"/>
                <a:gd name="T7" fmla="*/ 28 h 12"/>
                <a:gd name="T8" fmla="*/ 10 w 9"/>
                <a:gd name="T9" fmla="*/ 28 h 12"/>
                <a:gd name="T10" fmla="*/ 0 w 9"/>
                <a:gd name="T11" fmla="*/ 5 h 12"/>
                <a:gd name="T12" fmla="*/ 2 w 9"/>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 h="12">
                  <a:moveTo>
                    <a:pt x="1" y="0"/>
                  </a:moveTo>
                  <a:cubicBezTo>
                    <a:pt x="2" y="0"/>
                    <a:pt x="2" y="1"/>
                    <a:pt x="2" y="2"/>
                  </a:cubicBezTo>
                  <a:cubicBezTo>
                    <a:pt x="1" y="4"/>
                    <a:pt x="8" y="4"/>
                    <a:pt x="6" y="6"/>
                  </a:cubicBezTo>
                  <a:cubicBezTo>
                    <a:pt x="4" y="8"/>
                    <a:pt x="9" y="6"/>
                    <a:pt x="7" y="12"/>
                  </a:cubicBezTo>
                  <a:cubicBezTo>
                    <a:pt x="5" y="12"/>
                    <a:pt x="4" y="10"/>
                    <a:pt x="4" y="12"/>
                  </a:cubicBezTo>
                  <a:cubicBezTo>
                    <a:pt x="2" y="10"/>
                    <a:pt x="1" y="5"/>
                    <a:pt x="0" y="2"/>
                  </a:cubicBezTo>
                  <a:cubicBezTo>
                    <a:pt x="1" y="2"/>
                    <a:pt x="1" y="1"/>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8" name="Freeform 80"/>
            <p:cNvSpPr/>
            <p:nvPr/>
          </p:nvSpPr>
          <p:spPr bwMode="auto">
            <a:xfrm>
              <a:off x="7201250" y="3796432"/>
              <a:ext cx="71438" cy="98425"/>
            </a:xfrm>
            <a:custGeom>
              <a:avLst/>
              <a:gdLst>
                <a:gd name="T0" fmla="*/ 14 w 19"/>
                <a:gd name="T1" fmla="*/ 0 h 26"/>
                <a:gd name="T2" fmla="*/ 19 w 19"/>
                <a:gd name="T3" fmla="*/ 5 h 26"/>
                <a:gd name="T4" fmla="*/ 24 w 19"/>
                <a:gd name="T5" fmla="*/ 5 h 26"/>
                <a:gd name="T6" fmla="*/ 45 w 19"/>
                <a:gd name="T7" fmla="*/ 14 h 26"/>
                <a:gd name="T8" fmla="*/ 45 w 19"/>
                <a:gd name="T9" fmla="*/ 29 h 26"/>
                <a:gd name="T10" fmla="*/ 38 w 19"/>
                <a:gd name="T11" fmla="*/ 29 h 26"/>
                <a:gd name="T12" fmla="*/ 36 w 19"/>
                <a:gd name="T13" fmla="*/ 36 h 26"/>
                <a:gd name="T14" fmla="*/ 31 w 19"/>
                <a:gd name="T15" fmla="*/ 52 h 26"/>
                <a:gd name="T16" fmla="*/ 28 w 19"/>
                <a:gd name="T17" fmla="*/ 57 h 26"/>
                <a:gd name="T18" fmla="*/ 14 w 19"/>
                <a:gd name="T19" fmla="*/ 60 h 26"/>
                <a:gd name="T20" fmla="*/ 12 w 19"/>
                <a:gd name="T21" fmla="*/ 52 h 26"/>
                <a:gd name="T22" fmla="*/ 19 w 19"/>
                <a:gd name="T23" fmla="*/ 45 h 26"/>
                <a:gd name="T24" fmla="*/ 0 w 19"/>
                <a:gd name="T25" fmla="*/ 38 h 26"/>
                <a:gd name="T26" fmla="*/ 12 w 19"/>
                <a:gd name="T27" fmla="*/ 26 h 26"/>
                <a:gd name="T28" fmla="*/ 14 w 19"/>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 h="26">
                  <a:moveTo>
                    <a:pt x="6" y="0"/>
                  </a:moveTo>
                  <a:cubicBezTo>
                    <a:pt x="7" y="0"/>
                    <a:pt x="7" y="1"/>
                    <a:pt x="8" y="2"/>
                  </a:cubicBezTo>
                  <a:cubicBezTo>
                    <a:pt x="7" y="4"/>
                    <a:pt x="10" y="2"/>
                    <a:pt x="10" y="2"/>
                  </a:cubicBezTo>
                  <a:cubicBezTo>
                    <a:pt x="14" y="4"/>
                    <a:pt x="12" y="8"/>
                    <a:pt x="19" y="6"/>
                  </a:cubicBezTo>
                  <a:cubicBezTo>
                    <a:pt x="19" y="8"/>
                    <a:pt x="19" y="10"/>
                    <a:pt x="19" y="12"/>
                  </a:cubicBezTo>
                  <a:cubicBezTo>
                    <a:pt x="18" y="12"/>
                    <a:pt x="17" y="12"/>
                    <a:pt x="16" y="12"/>
                  </a:cubicBezTo>
                  <a:cubicBezTo>
                    <a:pt x="16" y="14"/>
                    <a:pt x="16" y="14"/>
                    <a:pt x="15" y="15"/>
                  </a:cubicBezTo>
                  <a:cubicBezTo>
                    <a:pt x="17" y="17"/>
                    <a:pt x="14" y="18"/>
                    <a:pt x="13" y="22"/>
                  </a:cubicBezTo>
                  <a:cubicBezTo>
                    <a:pt x="13" y="23"/>
                    <a:pt x="10" y="23"/>
                    <a:pt x="12" y="24"/>
                  </a:cubicBezTo>
                  <a:cubicBezTo>
                    <a:pt x="12" y="26"/>
                    <a:pt x="8" y="24"/>
                    <a:pt x="6" y="25"/>
                  </a:cubicBezTo>
                  <a:cubicBezTo>
                    <a:pt x="7" y="23"/>
                    <a:pt x="5" y="23"/>
                    <a:pt x="5" y="22"/>
                  </a:cubicBezTo>
                  <a:cubicBezTo>
                    <a:pt x="5" y="20"/>
                    <a:pt x="6" y="19"/>
                    <a:pt x="8" y="19"/>
                  </a:cubicBezTo>
                  <a:cubicBezTo>
                    <a:pt x="6" y="18"/>
                    <a:pt x="5" y="15"/>
                    <a:pt x="0" y="16"/>
                  </a:cubicBezTo>
                  <a:cubicBezTo>
                    <a:pt x="0" y="12"/>
                    <a:pt x="4" y="13"/>
                    <a:pt x="5" y="11"/>
                  </a:cubicBezTo>
                  <a:cubicBezTo>
                    <a:pt x="6" y="5"/>
                    <a:pt x="5" y="5"/>
                    <a:pt x="6"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79" name="Freeform 81"/>
            <p:cNvSpPr/>
            <p:nvPr/>
          </p:nvSpPr>
          <p:spPr bwMode="auto">
            <a:xfrm>
              <a:off x="6686900" y="3878982"/>
              <a:ext cx="60325" cy="63500"/>
            </a:xfrm>
            <a:custGeom>
              <a:avLst/>
              <a:gdLst>
                <a:gd name="T0" fmla="*/ 36 w 16"/>
                <a:gd name="T1" fmla="*/ 2 h 17"/>
                <a:gd name="T2" fmla="*/ 36 w 16"/>
                <a:gd name="T3" fmla="*/ 19 h 17"/>
                <a:gd name="T4" fmla="*/ 33 w 16"/>
                <a:gd name="T5" fmla="*/ 12 h 17"/>
                <a:gd name="T6" fmla="*/ 31 w 16"/>
                <a:gd name="T7" fmla="*/ 16 h 17"/>
                <a:gd name="T8" fmla="*/ 31 w 16"/>
                <a:gd name="T9" fmla="*/ 31 h 17"/>
                <a:gd name="T10" fmla="*/ 24 w 16"/>
                <a:gd name="T11" fmla="*/ 31 h 17"/>
                <a:gd name="T12" fmla="*/ 24 w 16"/>
                <a:gd name="T13" fmla="*/ 35 h 17"/>
                <a:gd name="T14" fmla="*/ 17 w 16"/>
                <a:gd name="T15" fmla="*/ 40 h 17"/>
                <a:gd name="T16" fmla="*/ 10 w 16"/>
                <a:gd name="T17" fmla="*/ 33 h 17"/>
                <a:gd name="T18" fmla="*/ 5 w 16"/>
                <a:gd name="T19" fmla="*/ 26 h 17"/>
                <a:gd name="T20" fmla="*/ 0 w 16"/>
                <a:gd name="T21" fmla="*/ 9 h 17"/>
                <a:gd name="T22" fmla="*/ 21 w 16"/>
                <a:gd name="T23" fmla="*/ 5 h 17"/>
                <a:gd name="T24" fmla="*/ 36 w 16"/>
                <a:gd name="T25" fmla="*/ 2 h 1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17">
                  <a:moveTo>
                    <a:pt x="15" y="1"/>
                  </a:moveTo>
                  <a:cubicBezTo>
                    <a:pt x="14" y="3"/>
                    <a:pt x="16" y="5"/>
                    <a:pt x="15" y="8"/>
                  </a:cubicBezTo>
                  <a:cubicBezTo>
                    <a:pt x="15" y="8"/>
                    <a:pt x="14" y="6"/>
                    <a:pt x="14" y="5"/>
                  </a:cubicBezTo>
                  <a:cubicBezTo>
                    <a:pt x="14" y="6"/>
                    <a:pt x="13" y="6"/>
                    <a:pt x="13" y="7"/>
                  </a:cubicBezTo>
                  <a:cubicBezTo>
                    <a:pt x="12" y="8"/>
                    <a:pt x="13" y="11"/>
                    <a:pt x="13" y="13"/>
                  </a:cubicBezTo>
                  <a:cubicBezTo>
                    <a:pt x="13" y="13"/>
                    <a:pt x="11" y="12"/>
                    <a:pt x="10" y="13"/>
                  </a:cubicBezTo>
                  <a:cubicBezTo>
                    <a:pt x="10" y="13"/>
                    <a:pt x="11" y="15"/>
                    <a:pt x="10" y="15"/>
                  </a:cubicBezTo>
                  <a:cubicBezTo>
                    <a:pt x="9" y="16"/>
                    <a:pt x="7" y="15"/>
                    <a:pt x="7" y="17"/>
                  </a:cubicBezTo>
                  <a:cubicBezTo>
                    <a:pt x="6" y="17"/>
                    <a:pt x="5" y="15"/>
                    <a:pt x="4" y="14"/>
                  </a:cubicBezTo>
                  <a:cubicBezTo>
                    <a:pt x="4" y="13"/>
                    <a:pt x="2" y="12"/>
                    <a:pt x="2" y="11"/>
                  </a:cubicBezTo>
                  <a:cubicBezTo>
                    <a:pt x="1" y="9"/>
                    <a:pt x="2" y="6"/>
                    <a:pt x="0" y="4"/>
                  </a:cubicBezTo>
                  <a:cubicBezTo>
                    <a:pt x="1" y="3"/>
                    <a:pt x="5" y="3"/>
                    <a:pt x="9" y="2"/>
                  </a:cubicBezTo>
                  <a:cubicBezTo>
                    <a:pt x="11" y="2"/>
                    <a:pt x="13" y="0"/>
                    <a:pt x="15"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0" name="Freeform 82"/>
            <p:cNvSpPr/>
            <p:nvPr/>
          </p:nvSpPr>
          <p:spPr bwMode="auto">
            <a:xfrm>
              <a:off x="9430927" y="1061887"/>
              <a:ext cx="1084263" cy="809625"/>
            </a:xfrm>
            <a:custGeom>
              <a:avLst/>
              <a:gdLst>
                <a:gd name="T0" fmla="*/ 484 w 289"/>
                <a:gd name="T1" fmla="*/ 57 h 216"/>
                <a:gd name="T2" fmla="*/ 513 w 289"/>
                <a:gd name="T3" fmla="*/ 59 h 216"/>
                <a:gd name="T4" fmla="*/ 551 w 289"/>
                <a:gd name="T5" fmla="*/ 52 h 216"/>
                <a:gd name="T6" fmla="*/ 574 w 289"/>
                <a:gd name="T7" fmla="*/ 54 h 216"/>
                <a:gd name="T8" fmla="*/ 572 w 289"/>
                <a:gd name="T9" fmla="*/ 61 h 216"/>
                <a:gd name="T10" fmla="*/ 643 w 289"/>
                <a:gd name="T11" fmla="*/ 47 h 216"/>
                <a:gd name="T12" fmla="*/ 683 w 289"/>
                <a:gd name="T13" fmla="*/ 57 h 216"/>
                <a:gd name="T14" fmla="*/ 633 w 289"/>
                <a:gd name="T15" fmla="*/ 83 h 216"/>
                <a:gd name="T16" fmla="*/ 619 w 289"/>
                <a:gd name="T17" fmla="*/ 102 h 216"/>
                <a:gd name="T18" fmla="*/ 593 w 289"/>
                <a:gd name="T19" fmla="*/ 130 h 216"/>
                <a:gd name="T20" fmla="*/ 598 w 289"/>
                <a:gd name="T21" fmla="*/ 153 h 216"/>
                <a:gd name="T22" fmla="*/ 581 w 289"/>
                <a:gd name="T23" fmla="*/ 179 h 216"/>
                <a:gd name="T24" fmla="*/ 603 w 289"/>
                <a:gd name="T25" fmla="*/ 213 h 216"/>
                <a:gd name="T26" fmla="*/ 586 w 289"/>
                <a:gd name="T27" fmla="*/ 238 h 216"/>
                <a:gd name="T28" fmla="*/ 565 w 289"/>
                <a:gd name="T29" fmla="*/ 260 h 216"/>
                <a:gd name="T30" fmla="*/ 593 w 289"/>
                <a:gd name="T31" fmla="*/ 309 h 216"/>
                <a:gd name="T32" fmla="*/ 548 w 289"/>
                <a:gd name="T33" fmla="*/ 305 h 216"/>
                <a:gd name="T34" fmla="*/ 546 w 289"/>
                <a:gd name="T35" fmla="*/ 321 h 216"/>
                <a:gd name="T36" fmla="*/ 527 w 289"/>
                <a:gd name="T37" fmla="*/ 349 h 216"/>
                <a:gd name="T38" fmla="*/ 482 w 289"/>
                <a:gd name="T39" fmla="*/ 359 h 216"/>
                <a:gd name="T40" fmla="*/ 461 w 289"/>
                <a:gd name="T41" fmla="*/ 373 h 216"/>
                <a:gd name="T42" fmla="*/ 447 w 289"/>
                <a:gd name="T43" fmla="*/ 390 h 216"/>
                <a:gd name="T44" fmla="*/ 385 w 289"/>
                <a:gd name="T45" fmla="*/ 406 h 216"/>
                <a:gd name="T46" fmla="*/ 369 w 289"/>
                <a:gd name="T47" fmla="*/ 432 h 216"/>
                <a:gd name="T48" fmla="*/ 352 w 289"/>
                <a:gd name="T49" fmla="*/ 453 h 216"/>
                <a:gd name="T50" fmla="*/ 345 w 289"/>
                <a:gd name="T51" fmla="*/ 477 h 216"/>
                <a:gd name="T52" fmla="*/ 310 w 289"/>
                <a:gd name="T53" fmla="*/ 498 h 216"/>
                <a:gd name="T54" fmla="*/ 269 w 289"/>
                <a:gd name="T55" fmla="*/ 479 h 216"/>
                <a:gd name="T56" fmla="*/ 248 w 289"/>
                <a:gd name="T57" fmla="*/ 451 h 216"/>
                <a:gd name="T58" fmla="*/ 234 w 289"/>
                <a:gd name="T59" fmla="*/ 432 h 216"/>
                <a:gd name="T60" fmla="*/ 222 w 289"/>
                <a:gd name="T61" fmla="*/ 390 h 216"/>
                <a:gd name="T62" fmla="*/ 229 w 289"/>
                <a:gd name="T63" fmla="*/ 375 h 216"/>
                <a:gd name="T64" fmla="*/ 248 w 289"/>
                <a:gd name="T65" fmla="*/ 354 h 216"/>
                <a:gd name="T66" fmla="*/ 236 w 289"/>
                <a:gd name="T67" fmla="*/ 326 h 216"/>
                <a:gd name="T68" fmla="*/ 243 w 289"/>
                <a:gd name="T69" fmla="*/ 305 h 216"/>
                <a:gd name="T70" fmla="*/ 215 w 289"/>
                <a:gd name="T71" fmla="*/ 295 h 216"/>
                <a:gd name="T72" fmla="*/ 196 w 289"/>
                <a:gd name="T73" fmla="*/ 260 h 216"/>
                <a:gd name="T74" fmla="*/ 175 w 289"/>
                <a:gd name="T75" fmla="*/ 220 h 216"/>
                <a:gd name="T76" fmla="*/ 125 w 289"/>
                <a:gd name="T77" fmla="*/ 196 h 216"/>
                <a:gd name="T78" fmla="*/ 57 w 289"/>
                <a:gd name="T79" fmla="*/ 198 h 216"/>
                <a:gd name="T80" fmla="*/ 57 w 289"/>
                <a:gd name="T81" fmla="*/ 182 h 216"/>
                <a:gd name="T82" fmla="*/ 28 w 289"/>
                <a:gd name="T83" fmla="*/ 156 h 216"/>
                <a:gd name="T84" fmla="*/ 43 w 289"/>
                <a:gd name="T85" fmla="*/ 132 h 216"/>
                <a:gd name="T86" fmla="*/ 76 w 289"/>
                <a:gd name="T87" fmla="*/ 118 h 216"/>
                <a:gd name="T88" fmla="*/ 80 w 289"/>
                <a:gd name="T89" fmla="*/ 102 h 216"/>
                <a:gd name="T90" fmla="*/ 73 w 289"/>
                <a:gd name="T91" fmla="*/ 90 h 216"/>
                <a:gd name="T92" fmla="*/ 97 w 289"/>
                <a:gd name="T93" fmla="*/ 83 h 216"/>
                <a:gd name="T94" fmla="*/ 125 w 289"/>
                <a:gd name="T95" fmla="*/ 54 h 216"/>
                <a:gd name="T96" fmla="*/ 210 w 289"/>
                <a:gd name="T97" fmla="*/ 43 h 216"/>
                <a:gd name="T98" fmla="*/ 248 w 289"/>
                <a:gd name="T99" fmla="*/ 54 h 216"/>
                <a:gd name="T100" fmla="*/ 284 w 289"/>
                <a:gd name="T101" fmla="*/ 35 h 216"/>
                <a:gd name="T102" fmla="*/ 317 w 289"/>
                <a:gd name="T103" fmla="*/ 38 h 216"/>
                <a:gd name="T104" fmla="*/ 329 w 289"/>
                <a:gd name="T105" fmla="*/ 19 h 216"/>
                <a:gd name="T106" fmla="*/ 392 w 289"/>
                <a:gd name="T107" fmla="*/ 5 h 216"/>
                <a:gd name="T108" fmla="*/ 482 w 289"/>
                <a:gd name="T109" fmla="*/ 0 h 216"/>
                <a:gd name="T110" fmla="*/ 548 w 289"/>
                <a:gd name="T111" fmla="*/ 24 h 216"/>
                <a:gd name="T112" fmla="*/ 572 w 289"/>
                <a:gd name="T113" fmla="*/ 40 h 216"/>
                <a:gd name="T114" fmla="*/ 477 w 289"/>
                <a:gd name="T115" fmla="*/ 43 h 21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89" h="216">
                  <a:moveTo>
                    <a:pt x="196" y="22"/>
                  </a:moveTo>
                  <a:cubicBezTo>
                    <a:pt x="196" y="23"/>
                    <a:pt x="198" y="22"/>
                    <a:pt x="198" y="24"/>
                  </a:cubicBezTo>
                  <a:cubicBezTo>
                    <a:pt x="200" y="25"/>
                    <a:pt x="201" y="23"/>
                    <a:pt x="202" y="23"/>
                  </a:cubicBezTo>
                  <a:cubicBezTo>
                    <a:pt x="203" y="23"/>
                    <a:pt x="204" y="24"/>
                    <a:pt x="205" y="24"/>
                  </a:cubicBezTo>
                  <a:cubicBezTo>
                    <a:pt x="206" y="24"/>
                    <a:pt x="206" y="23"/>
                    <a:pt x="207" y="23"/>
                  </a:cubicBezTo>
                  <a:cubicBezTo>
                    <a:pt x="209" y="23"/>
                    <a:pt x="210" y="23"/>
                    <a:pt x="211" y="23"/>
                  </a:cubicBezTo>
                  <a:cubicBezTo>
                    <a:pt x="216" y="22"/>
                    <a:pt x="221" y="20"/>
                    <a:pt x="224" y="22"/>
                  </a:cubicBezTo>
                  <a:cubicBezTo>
                    <a:pt x="223" y="24"/>
                    <a:pt x="218" y="23"/>
                    <a:pt x="217" y="25"/>
                  </a:cubicBezTo>
                  <a:cubicBezTo>
                    <a:pt x="217" y="28"/>
                    <a:pt x="219" y="25"/>
                    <a:pt x="219" y="25"/>
                  </a:cubicBezTo>
                  <a:cubicBezTo>
                    <a:pt x="221" y="25"/>
                    <a:pt x="221" y="27"/>
                    <a:pt x="225" y="25"/>
                  </a:cubicBezTo>
                  <a:cubicBezTo>
                    <a:pt x="226" y="25"/>
                    <a:pt x="227" y="24"/>
                    <a:pt x="227" y="24"/>
                  </a:cubicBezTo>
                  <a:cubicBezTo>
                    <a:pt x="228" y="24"/>
                    <a:pt x="233" y="22"/>
                    <a:pt x="233" y="22"/>
                  </a:cubicBezTo>
                  <a:cubicBezTo>
                    <a:pt x="236" y="25"/>
                    <a:pt x="232" y="21"/>
                    <a:pt x="235" y="20"/>
                  </a:cubicBezTo>
                  <a:cubicBezTo>
                    <a:pt x="235" y="20"/>
                    <a:pt x="238" y="21"/>
                    <a:pt x="238" y="20"/>
                  </a:cubicBezTo>
                  <a:cubicBezTo>
                    <a:pt x="239" y="20"/>
                    <a:pt x="241" y="19"/>
                    <a:pt x="244" y="19"/>
                  </a:cubicBezTo>
                  <a:cubicBezTo>
                    <a:pt x="244" y="21"/>
                    <a:pt x="244" y="23"/>
                    <a:pt x="243" y="23"/>
                  </a:cubicBezTo>
                  <a:cubicBezTo>
                    <a:pt x="242" y="24"/>
                    <a:pt x="241" y="24"/>
                    <a:pt x="240" y="25"/>
                  </a:cubicBezTo>
                  <a:cubicBezTo>
                    <a:pt x="239" y="27"/>
                    <a:pt x="239" y="29"/>
                    <a:pt x="236" y="29"/>
                  </a:cubicBezTo>
                  <a:cubicBezTo>
                    <a:pt x="237" y="32"/>
                    <a:pt x="238" y="28"/>
                    <a:pt x="240" y="29"/>
                  </a:cubicBezTo>
                  <a:cubicBezTo>
                    <a:pt x="242" y="29"/>
                    <a:pt x="241" y="27"/>
                    <a:pt x="242" y="26"/>
                  </a:cubicBezTo>
                  <a:cubicBezTo>
                    <a:pt x="243" y="25"/>
                    <a:pt x="247" y="27"/>
                    <a:pt x="248" y="24"/>
                  </a:cubicBezTo>
                  <a:cubicBezTo>
                    <a:pt x="250" y="28"/>
                    <a:pt x="257" y="22"/>
                    <a:pt x="259" y="25"/>
                  </a:cubicBezTo>
                  <a:cubicBezTo>
                    <a:pt x="260" y="24"/>
                    <a:pt x="262" y="23"/>
                    <a:pt x="263" y="22"/>
                  </a:cubicBezTo>
                  <a:cubicBezTo>
                    <a:pt x="267" y="23"/>
                    <a:pt x="269" y="20"/>
                    <a:pt x="272" y="20"/>
                  </a:cubicBezTo>
                  <a:cubicBezTo>
                    <a:pt x="272" y="20"/>
                    <a:pt x="273" y="22"/>
                    <a:pt x="273" y="22"/>
                  </a:cubicBezTo>
                  <a:cubicBezTo>
                    <a:pt x="274" y="22"/>
                    <a:pt x="279" y="21"/>
                    <a:pt x="279" y="22"/>
                  </a:cubicBezTo>
                  <a:cubicBezTo>
                    <a:pt x="281" y="23"/>
                    <a:pt x="280" y="21"/>
                    <a:pt x="282" y="22"/>
                  </a:cubicBezTo>
                  <a:cubicBezTo>
                    <a:pt x="284" y="22"/>
                    <a:pt x="286" y="24"/>
                    <a:pt x="289" y="24"/>
                  </a:cubicBezTo>
                  <a:cubicBezTo>
                    <a:pt x="289" y="26"/>
                    <a:pt x="287" y="26"/>
                    <a:pt x="286" y="26"/>
                  </a:cubicBezTo>
                  <a:cubicBezTo>
                    <a:pt x="286" y="27"/>
                    <a:pt x="285" y="28"/>
                    <a:pt x="284" y="29"/>
                  </a:cubicBezTo>
                  <a:cubicBezTo>
                    <a:pt x="281" y="30"/>
                    <a:pt x="276" y="30"/>
                    <a:pt x="276" y="33"/>
                  </a:cubicBezTo>
                  <a:cubicBezTo>
                    <a:pt x="273" y="33"/>
                    <a:pt x="269" y="33"/>
                    <a:pt x="268" y="35"/>
                  </a:cubicBezTo>
                  <a:cubicBezTo>
                    <a:pt x="269" y="36"/>
                    <a:pt x="271" y="37"/>
                    <a:pt x="266" y="37"/>
                  </a:cubicBezTo>
                  <a:cubicBezTo>
                    <a:pt x="267" y="38"/>
                    <a:pt x="268" y="38"/>
                    <a:pt x="270" y="38"/>
                  </a:cubicBezTo>
                  <a:cubicBezTo>
                    <a:pt x="268" y="41"/>
                    <a:pt x="262" y="41"/>
                    <a:pt x="262" y="45"/>
                  </a:cubicBezTo>
                  <a:cubicBezTo>
                    <a:pt x="260" y="45"/>
                    <a:pt x="262" y="43"/>
                    <a:pt x="262" y="43"/>
                  </a:cubicBezTo>
                  <a:cubicBezTo>
                    <a:pt x="261" y="42"/>
                    <a:pt x="258" y="45"/>
                    <a:pt x="256" y="45"/>
                  </a:cubicBezTo>
                  <a:cubicBezTo>
                    <a:pt x="256" y="46"/>
                    <a:pt x="257" y="46"/>
                    <a:pt x="258" y="46"/>
                  </a:cubicBezTo>
                  <a:cubicBezTo>
                    <a:pt x="255" y="49"/>
                    <a:pt x="257" y="48"/>
                    <a:pt x="256" y="52"/>
                  </a:cubicBezTo>
                  <a:cubicBezTo>
                    <a:pt x="256" y="53"/>
                    <a:pt x="252" y="54"/>
                    <a:pt x="251" y="55"/>
                  </a:cubicBezTo>
                  <a:cubicBezTo>
                    <a:pt x="251" y="55"/>
                    <a:pt x="252" y="58"/>
                    <a:pt x="251" y="58"/>
                  </a:cubicBezTo>
                  <a:cubicBezTo>
                    <a:pt x="250" y="59"/>
                    <a:pt x="248" y="59"/>
                    <a:pt x="246" y="59"/>
                  </a:cubicBezTo>
                  <a:cubicBezTo>
                    <a:pt x="247" y="61"/>
                    <a:pt x="248" y="61"/>
                    <a:pt x="249" y="63"/>
                  </a:cubicBezTo>
                  <a:cubicBezTo>
                    <a:pt x="249" y="65"/>
                    <a:pt x="252" y="64"/>
                    <a:pt x="253" y="65"/>
                  </a:cubicBezTo>
                  <a:cubicBezTo>
                    <a:pt x="254" y="65"/>
                    <a:pt x="253" y="67"/>
                    <a:pt x="253" y="68"/>
                  </a:cubicBezTo>
                  <a:cubicBezTo>
                    <a:pt x="254" y="68"/>
                    <a:pt x="256" y="68"/>
                    <a:pt x="257" y="69"/>
                  </a:cubicBezTo>
                  <a:cubicBezTo>
                    <a:pt x="257" y="71"/>
                    <a:pt x="258" y="71"/>
                    <a:pt x="258" y="73"/>
                  </a:cubicBezTo>
                  <a:cubicBezTo>
                    <a:pt x="254" y="75"/>
                    <a:pt x="251" y="74"/>
                    <a:pt x="246" y="76"/>
                  </a:cubicBezTo>
                  <a:cubicBezTo>
                    <a:pt x="249" y="79"/>
                    <a:pt x="252" y="82"/>
                    <a:pt x="258" y="82"/>
                  </a:cubicBezTo>
                  <a:cubicBezTo>
                    <a:pt x="258" y="84"/>
                    <a:pt x="259" y="84"/>
                    <a:pt x="260" y="84"/>
                  </a:cubicBezTo>
                  <a:cubicBezTo>
                    <a:pt x="261" y="87"/>
                    <a:pt x="258" y="86"/>
                    <a:pt x="258" y="88"/>
                  </a:cubicBezTo>
                  <a:cubicBezTo>
                    <a:pt x="258" y="89"/>
                    <a:pt x="256" y="90"/>
                    <a:pt x="255" y="90"/>
                  </a:cubicBezTo>
                  <a:cubicBezTo>
                    <a:pt x="253" y="94"/>
                    <a:pt x="259" y="92"/>
                    <a:pt x="258" y="96"/>
                  </a:cubicBezTo>
                  <a:cubicBezTo>
                    <a:pt x="256" y="95"/>
                    <a:pt x="256" y="97"/>
                    <a:pt x="257" y="97"/>
                  </a:cubicBezTo>
                  <a:cubicBezTo>
                    <a:pt x="256" y="100"/>
                    <a:pt x="253" y="96"/>
                    <a:pt x="251" y="97"/>
                  </a:cubicBezTo>
                  <a:cubicBezTo>
                    <a:pt x="249" y="97"/>
                    <a:pt x="250" y="101"/>
                    <a:pt x="248" y="101"/>
                  </a:cubicBezTo>
                  <a:cubicBezTo>
                    <a:pt x="247" y="103"/>
                    <a:pt x="248" y="104"/>
                    <a:pt x="250" y="104"/>
                  </a:cubicBezTo>
                  <a:cubicBezTo>
                    <a:pt x="250" y="106"/>
                    <a:pt x="247" y="105"/>
                    <a:pt x="245" y="105"/>
                  </a:cubicBezTo>
                  <a:cubicBezTo>
                    <a:pt x="242" y="106"/>
                    <a:pt x="239" y="108"/>
                    <a:pt x="236" y="109"/>
                  </a:cubicBezTo>
                  <a:cubicBezTo>
                    <a:pt x="236" y="110"/>
                    <a:pt x="238" y="109"/>
                    <a:pt x="239" y="110"/>
                  </a:cubicBezTo>
                  <a:cubicBezTo>
                    <a:pt x="241" y="111"/>
                    <a:pt x="241" y="115"/>
                    <a:pt x="244" y="113"/>
                  </a:cubicBezTo>
                  <a:cubicBezTo>
                    <a:pt x="245" y="116"/>
                    <a:pt x="242" y="116"/>
                    <a:pt x="242" y="117"/>
                  </a:cubicBezTo>
                  <a:cubicBezTo>
                    <a:pt x="241" y="119"/>
                    <a:pt x="243" y="122"/>
                    <a:pt x="240" y="123"/>
                  </a:cubicBezTo>
                  <a:cubicBezTo>
                    <a:pt x="242" y="128"/>
                    <a:pt x="250" y="126"/>
                    <a:pt x="251" y="131"/>
                  </a:cubicBezTo>
                  <a:cubicBezTo>
                    <a:pt x="249" y="131"/>
                    <a:pt x="247" y="132"/>
                    <a:pt x="246" y="130"/>
                  </a:cubicBezTo>
                  <a:cubicBezTo>
                    <a:pt x="245" y="130"/>
                    <a:pt x="246" y="131"/>
                    <a:pt x="246" y="131"/>
                  </a:cubicBezTo>
                  <a:cubicBezTo>
                    <a:pt x="243" y="135"/>
                    <a:pt x="241" y="134"/>
                    <a:pt x="236" y="133"/>
                  </a:cubicBezTo>
                  <a:cubicBezTo>
                    <a:pt x="237" y="129"/>
                    <a:pt x="230" y="133"/>
                    <a:pt x="232" y="129"/>
                  </a:cubicBezTo>
                  <a:cubicBezTo>
                    <a:pt x="229" y="128"/>
                    <a:pt x="229" y="131"/>
                    <a:pt x="225" y="130"/>
                  </a:cubicBezTo>
                  <a:cubicBezTo>
                    <a:pt x="226" y="131"/>
                    <a:pt x="226" y="132"/>
                    <a:pt x="224" y="132"/>
                  </a:cubicBezTo>
                  <a:cubicBezTo>
                    <a:pt x="224" y="134"/>
                    <a:pt x="231" y="134"/>
                    <a:pt x="225" y="135"/>
                  </a:cubicBezTo>
                  <a:cubicBezTo>
                    <a:pt x="226" y="137"/>
                    <a:pt x="229" y="136"/>
                    <a:pt x="231" y="136"/>
                  </a:cubicBezTo>
                  <a:cubicBezTo>
                    <a:pt x="234" y="136"/>
                    <a:pt x="237" y="138"/>
                    <a:pt x="240" y="137"/>
                  </a:cubicBezTo>
                  <a:cubicBezTo>
                    <a:pt x="238" y="141"/>
                    <a:pt x="235" y="144"/>
                    <a:pt x="232" y="146"/>
                  </a:cubicBezTo>
                  <a:cubicBezTo>
                    <a:pt x="229" y="146"/>
                    <a:pt x="227" y="147"/>
                    <a:pt x="225" y="148"/>
                  </a:cubicBezTo>
                  <a:cubicBezTo>
                    <a:pt x="225" y="148"/>
                    <a:pt x="223" y="147"/>
                    <a:pt x="223" y="148"/>
                  </a:cubicBezTo>
                  <a:cubicBezTo>
                    <a:pt x="222" y="149"/>
                    <a:pt x="222" y="148"/>
                    <a:pt x="220" y="148"/>
                  </a:cubicBezTo>
                  <a:cubicBezTo>
                    <a:pt x="217" y="148"/>
                    <a:pt x="214" y="150"/>
                    <a:pt x="210" y="150"/>
                  </a:cubicBezTo>
                  <a:cubicBezTo>
                    <a:pt x="208" y="150"/>
                    <a:pt x="210" y="151"/>
                    <a:pt x="210" y="151"/>
                  </a:cubicBezTo>
                  <a:cubicBezTo>
                    <a:pt x="208" y="154"/>
                    <a:pt x="208" y="152"/>
                    <a:pt x="204" y="152"/>
                  </a:cubicBezTo>
                  <a:cubicBezTo>
                    <a:pt x="204" y="153"/>
                    <a:pt x="205" y="153"/>
                    <a:pt x="206" y="154"/>
                  </a:cubicBezTo>
                  <a:cubicBezTo>
                    <a:pt x="206" y="155"/>
                    <a:pt x="198" y="156"/>
                    <a:pt x="199" y="152"/>
                  </a:cubicBezTo>
                  <a:cubicBezTo>
                    <a:pt x="198" y="153"/>
                    <a:pt x="195" y="153"/>
                    <a:pt x="195" y="154"/>
                  </a:cubicBezTo>
                  <a:cubicBezTo>
                    <a:pt x="194" y="155"/>
                    <a:pt x="195" y="157"/>
                    <a:pt x="195" y="158"/>
                  </a:cubicBezTo>
                  <a:cubicBezTo>
                    <a:pt x="195" y="158"/>
                    <a:pt x="191" y="157"/>
                    <a:pt x="191" y="158"/>
                  </a:cubicBezTo>
                  <a:cubicBezTo>
                    <a:pt x="191" y="159"/>
                    <a:pt x="193" y="160"/>
                    <a:pt x="192" y="162"/>
                  </a:cubicBezTo>
                  <a:cubicBezTo>
                    <a:pt x="191" y="163"/>
                    <a:pt x="190" y="162"/>
                    <a:pt x="189" y="162"/>
                  </a:cubicBezTo>
                  <a:cubicBezTo>
                    <a:pt x="189" y="163"/>
                    <a:pt x="189" y="164"/>
                    <a:pt x="189" y="165"/>
                  </a:cubicBezTo>
                  <a:cubicBezTo>
                    <a:pt x="188" y="165"/>
                    <a:pt x="187" y="165"/>
                    <a:pt x="186" y="165"/>
                  </a:cubicBezTo>
                  <a:cubicBezTo>
                    <a:pt x="185" y="166"/>
                    <a:pt x="186" y="167"/>
                    <a:pt x="185" y="168"/>
                  </a:cubicBezTo>
                  <a:cubicBezTo>
                    <a:pt x="183" y="168"/>
                    <a:pt x="178" y="167"/>
                    <a:pt x="179" y="171"/>
                  </a:cubicBezTo>
                  <a:cubicBezTo>
                    <a:pt x="174" y="172"/>
                    <a:pt x="169" y="173"/>
                    <a:pt x="163" y="172"/>
                  </a:cubicBezTo>
                  <a:cubicBezTo>
                    <a:pt x="160" y="174"/>
                    <a:pt x="159" y="180"/>
                    <a:pt x="156" y="177"/>
                  </a:cubicBezTo>
                  <a:cubicBezTo>
                    <a:pt x="156" y="178"/>
                    <a:pt x="157" y="179"/>
                    <a:pt x="157" y="181"/>
                  </a:cubicBezTo>
                  <a:cubicBezTo>
                    <a:pt x="157" y="181"/>
                    <a:pt x="155" y="180"/>
                    <a:pt x="155" y="181"/>
                  </a:cubicBezTo>
                  <a:cubicBezTo>
                    <a:pt x="154" y="181"/>
                    <a:pt x="156" y="182"/>
                    <a:pt x="156" y="183"/>
                  </a:cubicBezTo>
                  <a:cubicBezTo>
                    <a:pt x="156" y="183"/>
                    <a:pt x="155" y="183"/>
                    <a:pt x="155" y="184"/>
                  </a:cubicBezTo>
                  <a:cubicBezTo>
                    <a:pt x="154" y="185"/>
                    <a:pt x="151" y="188"/>
                    <a:pt x="153" y="189"/>
                  </a:cubicBezTo>
                  <a:cubicBezTo>
                    <a:pt x="154" y="190"/>
                    <a:pt x="152" y="189"/>
                    <a:pt x="151" y="190"/>
                  </a:cubicBezTo>
                  <a:cubicBezTo>
                    <a:pt x="150" y="190"/>
                    <a:pt x="149" y="192"/>
                    <a:pt x="149" y="192"/>
                  </a:cubicBezTo>
                  <a:cubicBezTo>
                    <a:pt x="148" y="193"/>
                    <a:pt x="149" y="194"/>
                    <a:pt x="149" y="195"/>
                  </a:cubicBezTo>
                  <a:cubicBezTo>
                    <a:pt x="147" y="196"/>
                    <a:pt x="148" y="197"/>
                    <a:pt x="147" y="199"/>
                  </a:cubicBezTo>
                  <a:cubicBezTo>
                    <a:pt x="147" y="200"/>
                    <a:pt x="145" y="199"/>
                    <a:pt x="145" y="199"/>
                  </a:cubicBezTo>
                  <a:cubicBezTo>
                    <a:pt x="145" y="200"/>
                    <a:pt x="146" y="201"/>
                    <a:pt x="146" y="202"/>
                  </a:cubicBezTo>
                  <a:cubicBezTo>
                    <a:pt x="147" y="204"/>
                    <a:pt x="145" y="204"/>
                    <a:pt x="145" y="205"/>
                  </a:cubicBezTo>
                  <a:cubicBezTo>
                    <a:pt x="145" y="206"/>
                    <a:pt x="146" y="208"/>
                    <a:pt x="146" y="208"/>
                  </a:cubicBezTo>
                  <a:cubicBezTo>
                    <a:pt x="145" y="212"/>
                    <a:pt x="143" y="213"/>
                    <a:pt x="139" y="216"/>
                  </a:cubicBezTo>
                  <a:cubicBezTo>
                    <a:pt x="135" y="215"/>
                    <a:pt x="133" y="213"/>
                    <a:pt x="131" y="211"/>
                  </a:cubicBezTo>
                  <a:cubicBezTo>
                    <a:pt x="127" y="215"/>
                    <a:pt x="121" y="209"/>
                    <a:pt x="122" y="209"/>
                  </a:cubicBezTo>
                  <a:cubicBezTo>
                    <a:pt x="121" y="208"/>
                    <a:pt x="120" y="211"/>
                    <a:pt x="120" y="211"/>
                  </a:cubicBezTo>
                  <a:cubicBezTo>
                    <a:pt x="119" y="210"/>
                    <a:pt x="119" y="209"/>
                    <a:pt x="118" y="208"/>
                  </a:cubicBezTo>
                  <a:cubicBezTo>
                    <a:pt x="117" y="206"/>
                    <a:pt x="114" y="206"/>
                    <a:pt x="114" y="203"/>
                  </a:cubicBezTo>
                  <a:cubicBezTo>
                    <a:pt x="113" y="201"/>
                    <a:pt x="111" y="201"/>
                    <a:pt x="110" y="199"/>
                  </a:cubicBezTo>
                  <a:cubicBezTo>
                    <a:pt x="110" y="198"/>
                    <a:pt x="111" y="199"/>
                    <a:pt x="112" y="198"/>
                  </a:cubicBezTo>
                  <a:cubicBezTo>
                    <a:pt x="112" y="195"/>
                    <a:pt x="109" y="196"/>
                    <a:pt x="107" y="195"/>
                  </a:cubicBezTo>
                  <a:cubicBezTo>
                    <a:pt x="106" y="194"/>
                    <a:pt x="107" y="192"/>
                    <a:pt x="105" y="191"/>
                  </a:cubicBezTo>
                  <a:cubicBezTo>
                    <a:pt x="103" y="194"/>
                    <a:pt x="105" y="189"/>
                    <a:pt x="105" y="190"/>
                  </a:cubicBezTo>
                  <a:cubicBezTo>
                    <a:pt x="105" y="188"/>
                    <a:pt x="103" y="190"/>
                    <a:pt x="103" y="189"/>
                  </a:cubicBezTo>
                  <a:cubicBezTo>
                    <a:pt x="102" y="188"/>
                    <a:pt x="104" y="185"/>
                    <a:pt x="102" y="185"/>
                  </a:cubicBezTo>
                  <a:cubicBezTo>
                    <a:pt x="99" y="185"/>
                    <a:pt x="101" y="180"/>
                    <a:pt x="99" y="183"/>
                  </a:cubicBezTo>
                  <a:cubicBezTo>
                    <a:pt x="98" y="182"/>
                    <a:pt x="98" y="180"/>
                    <a:pt x="96" y="181"/>
                  </a:cubicBezTo>
                  <a:cubicBezTo>
                    <a:pt x="96" y="179"/>
                    <a:pt x="98" y="179"/>
                    <a:pt x="98" y="177"/>
                  </a:cubicBezTo>
                  <a:cubicBezTo>
                    <a:pt x="98" y="175"/>
                    <a:pt x="95" y="176"/>
                    <a:pt x="93" y="176"/>
                  </a:cubicBezTo>
                  <a:cubicBezTo>
                    <a:pt x="92" y="171"/>
                    <a:pt x="93" y="169"/>
                    <a:pt x="94" y="165"/>
                  </a:cubicBezTo>
                  <a:cubicBezTo>
                    <a:pt x="92" y="164"/>
                    <a:pt x="97" y="162"/>
                    <a:pt x="92" y="162"/>
                  </a:cubicBezTo>
                  <a:cubicBezTo>
                    <a:pt x="92" y="160"/>
                    <a:pt x="94" y="161"/>
                    <a:pt x="94" y="161"/>
                  </a:cubicBezTo>
                  <a:cubicBezTo>
                    <a:pt x="95" y="160"/>
                    <a:pt x="94" y="158"/>
                    <a:pt x="94" y="158"/>
                  </a:cubicBezTo>
                  <a:cubicBezTo>
                    <a:pt x="95" y="158"/>
                    <a:pt x="96" y="160"/>
                    <a:pt x="97" y="159"/>
                  </a:cubicBezTo>
                  <a:cubicBezTo>
                    <a:pt x="97" y="157"/>
                    <a:pt x="97" y="155"/>
                    <a:pt x="97" y="152"/>
                  </a:cubicBezTo>
                  <a:cubicBezTo>
                    <a:pt x="99" y="152"/>
                    <a:pt x="100" y="151"/>
                    <a:pt x="100" y="150"/>
                  </a:cubicBezTo>
                  <a:cubicBezTo>
                    <a:pt x="101" y="150"/>
                    <a:pt x="101" y="151"/>
                    <a:pt x="102" y="152"/>
                  </a:cubicBezTo>
                  <a:cubicBezTo>
                    <a:pt x="103" y="152"/>
                    <a:pt x="103" y="150"/>
                    <a:pt x="105" y="150"/>
                  </a:cubicBezTo>
                  <a:cubicBezTo>
                    <a:pt x="106" y="149"/>
                    <a:pt x="104" y="148"/>
                    <a:pt x="104" y="148"/>
                  </a:cubicBezTo>
                  <a:cubicBezTo>
                    <a:pt x="104" y="146"/>
                    <a:pt x="107" y="146"/>
                    <a:pt x="107" y="145"/>
                  </a:cubicBezTo>
                  <a:cubicBezTo>
                    <a:pt x="108" y="143"/>
                    <a:pt x="104" y="142"/>
                    <a:pt x="106" y="139"/>
                  </a:cubicBezTo>
                  <a:cubicBezTo>
                    <a:pt x="101" y="142"/>
                    <a:pt x="108" y="137"/>
                    <a:pt x="100" y="138"/>
                  </a:cubicBezTo>
                  <a:cubicBezTo>
                    <a:pt x="100" y="134"/>
                    <a:pt x="104" y="135"/>
                    <a:pt x="107" y="135"/>
                  </a:cubicBezTo>
                  <a:cubicBezTo>
                    <a:pt x="107" y="133"/>
                    <a:pt x="105" y="134"/>
                    <a:pt x="105" y="132"/>
                  </a:cubicBezTo>
                  <a:cubicBezTo>
                    <a:pt x="105" y="131"/>
                    <a:pt x="103" y="132"/>
                    <a:pt x="103" y="131"/>
                  </a:cubicBezTo>
                  <a:cubicBezTo>
                    <a:pt x="102" y="131"/>
                    <a:pt x="103" y="129"/>
                    <a:pt x="103" y="129"/>
                  </a:cubicBezTo>
                  <a:cubicBezTo>
                    <a:pt x="102" y="128"/>
                    <a:pt x="100" y="126"/>
                    <a:pt x="99" y="126"/>
                  </a:cubicBezTo>
                  <a:cubicBezTo>
                    <a:pt x="98" y="126"/>
                    <a:pt x="97" y="123"/>
                    <a:pt x="96" y="122"/>
                  </a:cubicBezTo>
                  <a:cubicBezTo>
                    <a:pt x="94" y="123"/>
                    <a:pt x="93" y="125"/>
                    <a:pt x="92" y="122"/>
                  </a:cubicBezTo>
                  <a:cubicBezTo>
                    <a:pt x="91" y="122"/>
                    <a:pt x="91" y="124"/>
                    <a:pt x="91" y="125"/>
                  </a:cubicBezTo>
                  <a:cubicBezTo>
                    <a:pt x="89" y="125"/>
                    <a:pt x="87" y="125"/>
                    <a:pt x="85" y="125"/>
                  </a:cubicBezTo>
                  <a:cubicBezTo>
                    <a:pt x="81" y="120"/>
                    <a:pt x="84" y="117"/>
                    <a:pt x="85" y="111"/>
                  </a:cubicBezTo>
                  <a:cubicBezTo>
                    <a:pt x="84" y="110"/>
                    <a:pt x="84" y="109"/>
                    <a:pt x="84" y="108"/>
                  </a:cubicBezTo>
                  <a:cubicBezTo>
                    <a:pt x="83" y="108"/>
                    <a:pt x="83" y="109"/>
                    <a:pt x="83" y="110"/>
                  </a:cubicBezTo>
                  <a:cubicBezTo>
                    <a:pt x="80" y="110"/>
                    <a:pt x="84" y="103"/>
                    <a:pt x="79" y="105"/>
                  </a:cubicBezTo>
                  <a:cubicBezTo>
                    <a:pt x="81" y="103"/>
                    <a:pt x="81" y="102"/>
                    <a:pt x="79" y="101"/>
                  </a:cubicBezTo>
                  <a:cubicBezTo>
                    <a:pt x="79" y="99"/>
                    <a:pt x="77" y="100"/>
                    <a:pt x="76" y="99"/>
                  </a:cubicBezTo>
                  <a:cubicBezTo>
                    <a:pt x="75" y="97"/>
                    <a:pt x="75" y="95"/>
                    <a:pt x="74" y="93"/>
                  </a:cubicBezTo>
                  <a:cubicBezTo>
                    <a:pt x="74" y="92"/>
                    <a:pt x="71" y="92"/>
                    <a:pt x="72" y="89"/>
                  </a:cubicBezTo>
                  <a:cubicBezTo>
                    <a:pt x="70" y="90"/>
                    <a:pt x="69" y="88"/>
                    <a:pt x="69" y="88"/>
                  </a:cubicBezTo>
                  <a:cubicBezTo>
                    <a:pt x="68" y="87"/>
                    <a:pt x="66" y="88"/>
                    <a:pt x="66" y="88"/>
                  </a:cubicBezTo>
                  <a:cubicBezTo>
                    <a:pt x="65" y="86"/>
                    <a:pt x="56" y="87"/>
                    <a:pt x="53" y="83"/>
                  </a:cubicBezTo>
                  <a:cubicBezTo>
                    <a:pt x="49" y="85"/>
                    <a:pt x="39" y="80"/>
                    <a:pt x="37" y="83"/>
                  </a:cubicBezTo>
                  <a:cubicBezTo>
                    <a:pt x="35" y="85"/>
                    <a:pt x="35" y="83"/>
                    <a:pt x="33" y="83"/>
                  </a:cubicBezTo>
                  <a:cubicBezTo>
                    <a:pt x="30" y="83"/>
                    <a:pt x="28" y="85"/>
                    <a:pt x="25" y="85"/>
                  </a:cubicBezTo>
                  <a:cubicBezTo>
                    <a:pt x="25" y="85"/>
                    <a:pt x="24" y="84"/>
                    <a:pt x="24" y="84"/>
                  </a:cubicBezTo>
                  <a:cubicBezTo>
                    <a:pt x="23" y="84"/>
                    <a:pt x="21" y="84"/>
                    <a:pt x="20" y="84"/>
                  </a:cubicBezTo>
                  <a:cubicBezTo>
                    <a:pt x="20" y="82"/>
                    <a:pt x="19" y="81"/>
                    <a:pt x="18" y="81"/>
                  </a:cubicBezTo>
                  <a:cubicBezTo>
                    <a:pt x="18" y="79"/>
                    <a:pt x="21" y="80"/>
                    <a:pt x="21" y="79"/>
                  </a:cubicBezTo>
                  <a:cubicBezTo>
                    <a:pt x="22" y="79"/>
                    <a:pt x="18" y="76"/>
                    <a:pt x="24" y="77"/>
                  </a:cubicBezTo>
                  <a:cubicBezTo>
                    <a:pt x="22" y="74"/>
                    <a:pt x="13" y="78"/>
                    <a:pt x="11" y="75"/>
                  </a:cubicBezTo>
                  <a:cubicBezTo>
                    <a:pt x="13" y="69"/>
                    <a:pt x="21" y="75"/>
                    <a:pt x="25" y="70"/>
                  </a:cubicBezTo>
                  <a:cubicBezTo>
                    <a:pt x="23" y="67"/>
                    <a:pt x="15" y="69"/>
                    <a:pt x="12" y="70"/>
                  </a:cubicBezTo>
                  <a:cubicBezTo>
                    <a:pt x="11" y="68"/>
                    <a:pt x="12" y="68"/>
                    <a:pt x="12" y="66"/>
                  </a:cubicBezTo>
                  <a:cubicBezTo>
                    <a:pt x="11" y="66"/>
                    <a:pt x="11" y="67"/>
                    <a:pt x="11" y="68"/>
                  </a:cubicBezTo>
                  <a:cubicBezTo>
                    <a:pt x="10" y="68"/>
                    <a:pt x="10" y="66"/>
                    <a:pt x="10" y="65"/>
                  </a:cubicBezTo>
                  <a:cubicBezTo>
                    <a:pt x="5" y="66"/>
                    <a:pt x="3" y="64"/>
                    <a:pt x="0" y="63"/>
                  </a:cubicBezTo>
                  <a:cubicBezTo>
                    <a:pt x="3" y="55"/>
                    <a:pt x="12" y="57"/>
                    <a:pt x="18" y="56"/>
                  </a:cubicBezTo>
                  <a:cubicBezTo>
                    <a:pt x="20" y="55"/>
                    <a:pt x="19" y="56"/>
                    <a:pt x="20" y="55"/>
                  </a:cubicBezTo>
                  <a:cubicBezTo>
                    <a:pt x="20" y="55"/>
                    <a:pt x="22" y="53"/>
                    <a:pt x="21" y="53"/>
                  </a:cubicBezTo>
                  <a:cubicBezTo>
                    <a:pt x="25" y="52"/>
                    <a:pt x="29" y="53"/>
                    <a:pt x="31" y="52"/>
                  </a:cubicBezTo>
                  <a:cubicBezTo>
                    <a:pt x="32" y="52"/>
                    <a:pt x="31" y="51"/>
                    <a:pt x="32" y="50"/>
                  </a:cubicBezTo>
                  <a:cubicBezTo>
                    <a:pt x="33" y="49"/>
                    <a:pt x="35" y="49"/>
                    <a:pt x="36" y="49"/>
                  </a:cubicBezTo>
                  <a:cubicBezTo>
                    <a:pt x="37" y="48"/>
                    <a:pt x="37" y="47"/>
                    <a:pt x="39" y="45"/>
                  </a:cubicBezTo>
                  <a:cubicBezTo>
                    <a:pt x="41" y="41"/>
                    <a:pt x="35" y="44"/>
                    <a:pt x="37" y="40"/>
                  </a:cubicBezTo>
                  <a:cubicBezTo>
                    <a:pt x="34" y="39"/>
                    <a:pt x="35" y="43"/>
                    <a:pt x="34" y="43"/>
                  </a:cubicBezTo>
                  <a:cubicBezTo>
                    <a:pt x="34" y="43"/>
                    <a:pt x="28" y="40"/>
                    <a:pt x="25" y="42"/>
                  </a:cubicBezTo>
                  <a:cubicBezTo>
                    <a:pt x="24" y="39"/>
                    <a:pt x="28" y="40"/>
                    <a:pt x="29" y="39"/>
                  </a:cubicBezTo>
                  <a:cubicBezTo>
                    <a:pt x="29" y="39"/>
                    <a:pt x="28" y="38"/>
                    <a:pt x="29" y="38"/>
                  </a:cubicBezTo>
                  <a:cubicBezTo>
                    <a:pt x="29" y="38"/>
                    <a:pt x="31" y="39"/>
                    <a:pt x="31" y="38"/>
                  </a:cubicBezTo>
                  <a:cubicBezTo>
                    <a:pt x="31" y="38"/>
                    <a:pt x="32" y="36"/>
                    <a:pt x="32" y="36"/>
                  </a:cubicBezTo>
                  <a:cubicBezTo>
                    <a:pt x="33" y="35"/>
                    <a:pt x="33" y="37"/>
                    <a:pt x="33" y="37"/>
                  </a:cubicBezTo>
                  <a:cubicBezTo>
                    <a:pt x="34" y="37"/>
                    <a:pt x="37" y="36"/>
                    <a:pt x="37" y="33"/>
                  </a:cubicBezTo>
                  <a:cubicBezTo>
                    <a:pt x="39" y="33"/>
                    <a:pt x="39" y="35"/>
                    <a:pt x="41" y="35"/>
                  </a:cubicBezTo>
                  <a:cubicBezTo>
                    <a:pt x="43" y="35"/>
                    <a:pt x="42" y="33"/>
                    <a:pt x="41" y="33"/>
                  </a:cubicBezTo>
                  <a:cubicBezTo>
                    <a:pt x="42" y="32"/>
                    <a:pt x="44" y="32"/>
                    <a:pt x="44" y="30"/>
                  </a:cubicBezTo>
                  <a:cubicBezTo>
                    <a:pt x="47" y="30"/>
                    <a:pt x="49" y="30"/>
                    <a:pt x="52" y="30"/>
                  </a:cubicBezTo>
                  <a:cubicBezTo>
                    <a:pt x="55" y="30"/>
                    <a:pt x="53" y="25"/>
                    <a:pt x="53" y="23"/>
                  </a:cubicBezTo>
                  <a:cubicBezTo>
                    <a:pt x="57" y="24"/>
                    <a:pt x="61" y="25"/>
                    <a:pt x="65" y="23"/>
                  </a:cubicBezTo>
                  <a:cubicBezTo>
                    <a:pt x="65" y="22"/>
                    <a:pt x="64" y="22"/>
                    <a:pt x="63" y="22"/>
                  </a:cubicBezTo>
                  <a:cubicBezTo>
                    <a:pt x="64" y="20"/>
                    <a:pt x="68" y="21"/>
                    <a:pt x="70" y="19"/>
                  </a:cubicBezTo>
                  <a:cubicBezTo>
                    <a:pt x="73" y="17"/>
                    <a:pt x="82" y="19"/>
                    <a:pt x="89" y="18"/>
                  </a:cubicBezTo>
                  <a:cubicBezTo>
                    <a:pt x="90" y="18"/>
                    <a:pt x="91" y="17"/>
                    <a:pt x="92" y="17"/>
                  </a:cubicBezTo>
                  <a:cubicBezTo>
                    <a:pt x="96" y="17"/>
                    <a:pt x="98" y="18"/>
                    <a:pt x="100" y="17"/>
                  </a:cubicBezTo>
                  <a:cubicBezTo>
                    <a:pt x="100" y="18"/>
                    <a:pt x="101" y="21"/>
                    <a:pt x="102" y="20"/>
                  </a:cubicBezTo>
                  <a:cubicBezTo>
                    <a:pt x="103" y="18"/>
                    <a:pt x="102" y="20"/>
                    <a:pt x="105" y="23"/>
                  </a:cubicBezTo>
                  <a:cubicBezTo>
                    <a:pt x="107" y="22"/>
                    <a:pt x="103" y="19"/>
                    <a:pt x="109" y="20"/>
                  </a:cubicBezTo>
                  <a:cubicBezTo>
                    <a:pt x="107" y="18"/>
                    <a:pt x="110" y="16"/>
                    <a:pt x="105" y="16"/>
                  </a:cubicBezTo>
                  <a:cubicBezTo>
                    <a:pt x="106" y="13"/>
                    <a:pt x="114" y="10"/>
                    <a:pt x="114" y="15"/>
                  </a:cubicBezTo>
                  <a:cubicBezTo>
                    <a:pt x="118" y="15"/>
                    <a:pt x="118" y="13"/>
                    <a:pt x="120" y="15"/>
                  </a:cubicBezTo>
                  <a:cubicBezTo>
                    <a:pt x="122" y="15"/>
                    <a:pt x="123" y="16"/>
                    <a:pt x="124" y="17"/>
                  </a:cubicBezTo>
                  <a:cubicBezTo>
                    <a:pt x="125" y="18"/>
                    <a:pt x="129" y="18"/>
                    <a:pt x="133" y="19"/>
                  </a:cubicBezTo>
                  <a:cubicBezTo>
                    <a:pt x="133" y="18"/>
                    <a:pt x="132" y="18"/>
                    <a:pt x="131" y="18"/>
                  </a:cubicBezTo>
                  <a:cubicBezTo>
                    <a:pt x="131" y="17"/>
                    <a:pt x="132" y="16"/>
                    <a:pt x="134" y="16"/>
                  </a:cubicBezTo>
                  <a:cubicBezTo>
                    <a:pt x="132" y="13"/>
                    <a:pt x="128" y="13"/>
                    <a:pt x="124" y="12"/>
                  </a:cubicBezTo>
                  <a:cubicBezTo>
                    <a:pt x="124" y="9"/>
                    <a:pt x="129" y="10"/>
                    <a:pt x="132" y="10"/>
                  </a:cubicBezTo>
                  <a:cubicBezTo>
                    <a:pt x="133" y="7"/>
                    <a:pt x="130" y="8"/>
                    <a:pt x="129" y="8"/>
                  </a:cubicBezTo>
                  <a:cubicBezTo>
                    <a:pt x="131" y="3"/>
                    <a:pt x="136" y="7"/>
                    <a:pt x="139" y="8"/>
                  </a:cubicBezTo>
                  <a:cubicBezTo>
                    <a:pt x="141" y="8"/>
                    <a:pt x="142" y="6"/>
                    <a:pt x="144" y="6"/>
                  </a:cubicBezTo>
                  <a:cubicBezTo>
                    <a:pt x="150" y="7"/>
                    <a:pt x="154" y="9"/>
                    <a:pt x="158" y="6"/>
                  </a:cubicBezTo>
                  <a:cubicBezTo>
                    <a:pt x="160" y="5"/>
                    <a:pt x="162" y="6"/>
                    <a:pt x="165" y="5"/>
                  </a:cubicBezTo>
                  <a:cubicBezTo>
                    <a:pt x="166" y="5"/>
                    <a:pt x="166" y="3"/>
                    <a:pt x="166" y="2"/>
                  </a:cubicBezTo>
                  <a:cubicBezTo>
                    <a:pt x="168" y="1"/>
                    <a:pt x="170" y="2"/>
                    <a:pt x="172" y="2"/>
                  </a:cubicBezTo>
                  <a:cubicBezTo>
                    <a:pt x="174" y="1"/>
                    <a:pt x="174" y="0"/>
                    <a:pt x="176" y="0"/>
                  </a:cubicBezTo>
                  <a:cubicBezTo>
                    <a:pt x="178" y="0"/>
                    <a:pt x="181" y="2"/>
                    <a:pt x="186" y="2"/>
                  </a:cubicBezTo>
                  <a:cubicBezTo>
                    <a:pt x="190" y="1"/>
                    <a:pt x="197" y="0"/>
                    <a:pt x="204" y="0"/>
                  </a:cubicBezTo>
                  <a:cubicBezTo>
                    <a:pt x="206" y="1"/>
                    <a:pt x="206" y="1"/>
                    <a:pt x="207" y="2"/>
                  </a:cubicBezTo>
                  <a:cubicBezTo>
                    <a:pt x="214" y="3"/>
                    <a:pt x="220" y="1"/>
                    <a:pt x="220" y="6"/>
                  </a:cubicBezTo>
                  <a:cubicBezTo>
                    <a:pt x="224" y="7"/>
                    <a:pt x="223" y="5"/>
                    <a:pt x="226" y="5"/>
                  </a:cubicBezTo>
                  <a:cubicBezTo>
                    <a:pt x="226" y="9"/>
                    <a:pt x="231" y="8"/>
                    <a:pt x="232" y="10"/>
                  </a:cubicBezTo>
                  <a:cubicBezTo>
                    <a:pt x="236" y="11"/>
                    <a:pt x="235" y="8"/>
                    <a:pt x="238" y="9"/>
                  </a:cubicBezTo>
                  <a:cubicBezTo>
                    <a:pt x="237" y="13"/>
                    <a:pt x="243" y="10"/>
                    <a:pt x="245" y="11"/>
                  </a:cubicBezTo>
                  <a:cubicBezTo>
                    <a:pt x="243" y="13"/>
                    <a:pt x="243" y="12"/>
                    <a:pt x="244" y="16"/>
                  </a:cubicBezTo>
                  <a:cubicBezTo>
                    <a:pt x="243" y="14"/>
                    <a:pt x="242" y="15"/>
                    <a:pt x="242" y="17"/>
                  </a:cubicBezTo>
                  <a:cubicBezTo>
                    <a:pt x="229" y="18"/>
                    <a:pt x="214" y="18"/>
                    <a:pt x="205" y="19"/>
                  </a:cubicBezTo>
                  <a:cubicBezTo>
                    <a:pt x="204" y="19"/>
                    <a:pt x="204" y="20"/>
                    <a:pt x="204" y="20"/>
                  </a:cubicBezTo>
                  <a:cubicBezTo>
                    <a:pt x="203" y="20"/>
                    <a:pt x="203" y="19"/>
                    <a:pt x="204" y="19"/>
                  </a:cubicBezTo>
                  <a:cubicBezTo>
                    <a:pt x="204" y="19"/>
                    <a:pt x="202" y="18"/>
                    <a:pt x="202" y="18"/>
                  </a:cubicBezTo>
                  <a:cubicBezTo>
                    <a:pt x="201" y="18"/>
                    <a:pt x="202" y="20"/>
                    <a:pt x="202" y="20"/>
                  </a:cubicBezTo>
                  <a:cubicBezTo>
                    <a:pt x="199" y="21"/>
                    <a:pt x="197" y="20"/>
                    <a:pt x="196" y="2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1" name="Freeform 83"/>
            <p:cNvSpPr/>
            <p:nvPr/>
          </p:nvSpPr>
          <p:spPr bwMode="auto">
            <a:xfrm>
              <a:off x="9100727" y="1084112"/>
              <a:ext cx="536575" cy="288925"/>
            </a:xfrm>
            <a:custGeom>
              <a:avLst/>
              <a:gdLst>
                <a:gd name="T0" fmla="*/ 314 w 143"/>
                <a:gd name="T1" fmla="*/ 17 h 77"/>
                <a:gd name="T2" fmla="*/ 333 w 143"/>
                <a:gd name="T3" fmla="*/ 28 h 77"/>
                <a:gd name="T4" fmla="*/ 326 w 143"/>
                <a:gd name="T5" fmla="*/ 33 h 77"/>
                <a:gd name="T6" fmla="*/ 312 w 143"/>
                <a:gd name="T7" fmla="*/ 40 h 77"/>
                <a:gd name="T8" fmla="*/ 272 w 143"/>
                <a:gd name="T9" fmla="*/ 47 h 77"/>
                <a:gd name="T10" fmla="*/ 288 w 143"/>
                <a:gd name="T11" fmla="*/ 54 h 77"/>
                <a:gd name="T12" fmla="*/ 255 w 143"/>
                <a:gd name="T13" fmla="*/ 69 h 77"/>
                <a:gd name="T14" fmla="*/ 246 w 143"/>
                <a:gd name="T15" fmla="*/ 73 h 77"/>
                <a:gd name="T16" fmla="*/ 229 w 143"/>
                <a:gd name="T17" fmla="*/ 80 h 77"/>
                <a:gd name="T18" fmla="*/ 201 w 143"/>
                <a:gd name="T19" fmla="*/ 92 h 77"/>
                <a:gd name="T20" fmla="*/ 191 w 143"/>
                <a:gd name="T21" fmla="*/ 102 h 77"/>
                <a:gd name="T22" fmla="*/ 173 w 143"/>
                <a:gd name="T23" fmla="*/ 104 h 77"/>
                <a:gd name="T24" fmla="*/ 184 w 143"/>
                <a:gd name="T25" fmla="*/ 121 h 77"/>
                <a:gd name="T26" fmla="*/ 163 w 143"/>
                <a:gd name="T27" fmla="*/ 135 h 77"/>
                <a:gd name="T28" fmla="*/ 151 w 143"/>
                <a:gd name="T29" fmla="*/ 142 h 77"/>
                <a:gd name="T30" fmla="*/ 125 w 143"/>
                <a:gd name="T31" fmla="*/ 158 h 77"/>
                <a:gd name="T32" fmla="*/ 132 w 143"/>
                <a:gd name="T33" fmla="*/ 173 h 77"/>
                <a:gd name="T34" fmla="*/ 111 w 143"/>
                <a:gd name="T35" fmla="*/ 180 h 77"/>
                <a:gd name="T36" fmla="*/ 69 w 143"/>
                <a:gd name="T37" fmla="*/ 170 h 77"/>
                <a:gd name="T38" fmla="*/ 57 w 143"/>
                <a:gd name="T39" fmla="*/ 173 h 77"/>
                <a:gd name="T40" fmla="*/ 35 w 143"/>
                <a:gd name="T41" fmla="*/ 158 h 77"/>
                <a:gd name="T42" fmla="*/ 57 w 143"/>
                <a:gd name="T43" fmla="*/ 142 h 77"/>
                <a:gd name="T44" fmla="*/ 78 w 143"/>
                <a:gd name="T45" fmla="*/ 142 h 77"/>
                <a:gd name="T46" fmla="*/ 38 w 143"/>
                <a:gd name="T47" fmla="*/ 135 h 77"/>
                <a:gd name="T48" fmla="*/ 61 w 143"/>
                <a:gd name="T49" fmla="*/ 118 h 77"/>
                <a:gd name="T50" fmla="*/ 80 w 143"/>
                <a:gd name="T51" fmla="*/ 118 h 77"/>
                <a:gd name="T52" fmla="*/ 80 w 143"/>
                <a:gd name="T53" fmla="*/ 106 h 77"/>
                <a:gd name="T54" fmla="*/ 76 w 143"/>
                <a:gd name="T55" fmla="*/ 92 h 77"/>
                <a:gd name="T56" fmla="*/ 61 w 143"/>
                <a:gd name="T57" fmla="*/ 87 h 77"/>
                <a:gd name="T58" fmla="*/ 92 w 143"/>
                <a:gd name="T59" fmla="*/ 85 h 77"/>
                <a:gd name="T60" fmla="*/ 104 w 143"/>
                <a:gd name="T61" fmla="*/ 78 h 77"/>
                <a:gd name="T62" fmla="*/ 125 w 143"/>
                <a:gd name="T63" fmla="*/ 61 h 77"/>
                <a:gd name="T64" fmla="*/ 78 w 143"/>
                <a:gd name="T65" fmla="*/ 71 h 77"/>
                <a:gd name="T66" fmla="*/ 45 w 143"/>
                <a:gd name="T67" fmla="*/ 61 h 77"/>
                <a:gd name="T68" fmla="*/ 12 w 143"/>
                <a:gd name="T69" fmla="*/ 54 h 77"/>
                <a:gd name="T70" fmla="*/ 5 w 143"/>
                <a:gd name="T71" fmla="*/ 38 h 77"/>
                <a:gd name="T72" fmla="*/ 61 w 143"/>
                <a:gd name="T73" fmla="*/ 24 h 77"/>
                <a:gd name="T74" fmla="*/ 99 w 143"/>
                <a:gd name="T75" fmla="*/ 14 h 77"/>
                <a:gd name="T76" fmla="*/ 147 w 143"/>
                <a:gd name="T77" fmla="*/ 7 h 77"/>
                <a:gd name="T78" fmla="*/ 194 w 143"/>
                <a:gd name="T79" fmla="*/ 5 h 77"/>
                <a:gd name="T80" fmla="*/ 220 w 143"/>
                <a:gd name="T81" fmla="*/ 5 h 77"/>
                <a:gd name="T82" fmla="*/ 267 w 143"/>
                <a:gd name="T83" fmla="*/ 5 h 77"/>
                <a:gd name="T84" fmla="*/ 314 w 143"/>
                <a:gd name="T85" fmla="*/ 7 h 7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3" h="77">
                  <a:moveTo>
                    <a:pt x="133" y="3"/>
                  </a:moveTo>
                  <a:cubicBezTo>
                    <a:pt x="131" y="5"/>
                    <a:pt x="133" y="4"/>
                    <a:pt x="133" y="7"/>
                  </a:cubicBezTo>
                  <a:cubicBezTo>
                    <a:pt x="136" y="7"/>
                    <a:pt x="139" y="7"/>
                    <a:pt x="142" y="7"/>
                  </a:cubicBezTo>
                  <a:cubicBezTo>
                    <a:pt x="143" y="10"/>
                    <a:pt x="141" y="10"/>
                    <a:pt x="141" y="12"/>
                  </a:cubicBezTo>
                  <a:cubicBezTo>
                    <a:pt x="141" y="13"/>
                    <a:pt x="138" y="12"/>
                    <a:pt x="138" y="12"/>
                  </a:cubicBezTo>
                  <a:cubicBezTo>
                    <a:pt x="137" y="12"/>
                    <a:pt x="138" y="14"/>
                    <a:pt x="138" y="14"/>
                  </a:cubicBezTo>
                  <a:cubicBezTo>
                    <a:pt x="136" y="15"/>
                    <a:pt x="133" y="16"/>
                    <a:pt x="133" y="14"/>
                  </a:cubicBezTo>
                  <a:cubicBezTo>
                    <a:pt x="132" y="14"/>
                    <a:pt x="132" y="16"/>
                    <a:pt x="132" y="17"/>
                  </a:cubicBezTo>
                  <a:cubicBezTo>
                    <a:pt x="131" y="18"/>
                    <a:pt x="127" y="16"/>
                    <a:pt x="127" y="18"/>
                  </a:cubicBezTo>
                  <a:cubicBezTo>
                    <a:pt x="123" y="18"/>
                    <a:pt x="118" y="16"/>
                    <a:pt x="115" y="20"/>
                  </a:cubicBezTo>
                  <a:cubicBezTo>
                    <a:pt x="116" y="23"/>
                    <a:pt x="121" y="20"/>
                    <a:pt x="122" y="19"/>
                  </a:cubicBezTo>
                  <a:cubicBezTo>
                    <a:pt x="124" y="20"/>
                    <a:pt x="122" y="21"/>
                    <a:pt x="122" y="23"/>
                  </a:cubicBezTo>
                  <a:cubicBezTo>
                    <a:pt x="118" y="23"/>
                    <a:pt x="116" y="25"/>
                    <a:pt x="112" y="25"/>
                  </a:cubicBezTo>
                  <a:cubicBezTo>
                    <a:pt x="110" y="26"/>
                    <a:pt x="109" y="27"/>
                    <a:pt x="108" y="29"/>
                  </a:cubicBezTo>
                  <a:cubicBezTo>
                    <a:pt x="107" y="29"/>
                    <a:pt x="106" y="28"/>
                    <a:pt x="105" y="29"/>
                  </a:cubicBezTo>
                  <a:cubicBezTo>
                    <a:pt x="103" y="29"/>
                    <a:pt x="104" y="30"/>
                    <a:pt x="104" y="31"/>
                  </a:cubicBezTo>
                  <a:cubicBezTo>
                    <a:pt x="102" y="32"/>
                    <a:pt x="100" y="30"/>
                    <a:pt x="100" y="32"/>
                  </a:cubicBezTo>
                  <a:cubicBezTo>
                    <a:pt x="100" y="34"/>
                    <a:pt x="97" y="33"/>
                    <a:pt x="97" y="34"/>
                  </a:cubicBezTo>
                  <a:cubicBezTo>
                    <a:pt x="96" y="37"/>
                    <a:pt x="93" y="35"/>
                    <a:pt x="92" y="37"/>
                  </a:cubicBezTo>
                  <a:cubicBezTo>
                    <a:pt x="90" y="39"/>
                    <a:pt x="88" y="38"/>
                    <a:pt x="85" y="39"/>
                  </a:cubicBezTo>
                  <a:cubicBezTo>
                    <a:pt x="84" y="39"/>
                    <a:pt x="85" y="40"/>
                    <a:pt x="84" y="40"/>
                  </a:cubicBezTo>
                  <a:cubicBezTo>
                    <a:pt x="81" y="41"/>
                    <a:pt x="83" y="41"/>
                    <a:pt x="81" y="43"/>
                  </a:cubicBezTo>
                  <a:cubicBezTo>
                    <a:pt x="81" y="43"/>
                    <a:pt x="80" y="43"/>
                    <a:pt x="80" y="43"/>
                  </a:cubicBezTo>
                  <a:cubicBezTo>
                    <a:pt x="79" y="43"/>
                    <a:pt x="77" y="45"/>
                    <a:pt x="73" y="44"/>
                  </a:cubicBezTo>
                  <a:cubicBezTo>
                    <a:pt x="73" y="45"/>
                    <a:pt x="78" y="46"/>
                    <a:pt x="73" y="46"/>
                  </a:cubicBezTo>
                  <a:cubicBezTo>
                    <a:pt x="74" y="49"/>
                    <a:pt x="79" y="47"/>
                    <a:pt x="78" y="51"/>
                  </a:cubicBezTo>
                  <a:cubicBezTo>
                    <a:pt x="75" y="48"/>
                    <a:pt x="75" y="51"/>
                    <a:pt x="75" y="55"/>
                  </a:cubicBezTo>
                  <a:cubicBezTo>
                    <a:pt x="73" y="51"/>
                    <a:pt x="72" y="56"/>
                    <a:pt x="69" y="57"/>
                  </a:cubicBezTo>
                  <a:cubicBezTo>
                    <a:pt x="67" y="58"/>
                    <a:pt x="64" y="57"/>
                    <a:pt x="62" y="59"/>
                  </a:cubicBezTo>
                  <a:cubicBezTo>
                    <a:pt x="62" y="60"/>
                    <a:pt x="64" y="60"/>
                    <a:pt x="64" y="60"/>
                  </a:cubicBezTo>
                  <a:cubicBezTo>
                    <a:pt x="64" y="61"/>
                    <a:pt x="60" y="62"/>
                    <a:pt x="62" y="63"/>
                  </a:cubicBezTo>
                  <a:cubicBezTo>
                    <a:pt x="61" y="66"/>
                    <a:pt x="54" y="64"/>
                    <a:pt x="53" y="67"/>
                  </a:cubicBezTo>
                  <a:cubicBezTo>
                    <a:pt x="55" y="69"/>
                    <a:pt x="58" y="70"/>
                    <a:pt x="62" y="70"/>
                  </a:cubicBezTo>
                  <a:cubicBezTo>
                    <a:pt x="63" y="74"/>
                    <a:pt x="57" y="70"/>
                    <a:pt x="56" y="73"/>
                  </a:cubicBezTo>
                  <a:cubicBezTo>
                    <a:pt x="56" y="75"/>
                    <a:pt x="55" y="73"/>
                    <a:pt x="54" y="73"/>
                  </a:cubicBezTo>
                  <a:cubicBezTo>
                    <a:pt x="51" y="73"/>
                    <a:pt x="50" y="77"/>
                    <a:pt x="47" y="76"/>
                  </a:cubicBezTo>
                  <a:cubicBezTo>
                    <a:pt x="46" y="74"/>
                    <a:pt x="44" y="74"/>
                    <a:pt x="45" y="72"/>
                  </a:cubicBezTo>
                  <a:cubicBezTo>
                    <a:pt x="39" y="71"/>
                    <a:pt x="35" y="73"/>
                    <a:pt x="29" y="72"/>
                  </a:cubicBezTo>
                  <a:cubicBezTo>
                    <a:pt x="29" y="72"/>
                    <a:pt x="28" y="71"/>
                    <a:pt x="28" y="71"/>
                  </a:cubicBezTo>
                  <a:cubicBezTo>
                    <a:pt x="26" y="71"/>
                    <a:pt x="25" y="73"/>
                    <a:pt x="24" y="73"/>
                  </a:cubicBezTo>
                  <a:cubicBezTo>
                    <a:pt x="18" y="74"/>
                    <a:pt x="13" y="72"/>
                    <a:pt x="7" y="71"/>
                  </a:cubicBezTo>
                  <a:cubicBezTo>
                    <a:pt x="9" y="69"/>
                    <a:pt x="11" y="67"/>
                    <a:pt x="15" y="67"/>
                  </a:cubicBezTo>
                  <a:cubicBezTo>
                    <a:pt x="18" y="67"/>
                    <a:pt x="16" y="62"/>
                    <a:pt x="18" y="62"/>
                  </a:cubicBezTo>
                  <a:cubicBezTo>
                    <a:pt x="21" y="63"/>
                    <a:pt x="21" y="60"/>
                    <a:pt x="24" y="60"/>
                  </a:cubicBezTo>
                  <a:cubicBezTo>
                    <a:pt x="23" y="64"/>
                    <a:pt x="28" y="64"/>
                    <a:pt x="32" y="64"/>
                  </a:cubicBezTo>
                  <a:cubicBezTo>
                    <a:pt x="34" y="63"/>
                    <a:pt x="30" y="62"/>
                    <a:pt x="33" y="60"/>
                  </a:cubicBezTo>
                  <a:cubicBezTo>
                    <a:pt x="32" y="58"/>
                    <a:pt x="26" y="61"/>
                    <a:pt x="28" y="56"/>
                  </a:cubicBezTo>
                  <a:cubicBezTo>
                    <a:pt x="23" y="57"/>
                    <a:pt x="22" y="58"/>
                    <a:pt x="16" y="57"/>
                  </a:cubicBezTo>
                  <a:cubicBezTo>
                    <a:pt x="17" y="55"/>
                    <a:pt x="20" y="54"/>
                    <a:pt x="22" y="53"/>
                  </a:cubicBezTo>
                  <a:cubicBezTo>
                    <a:pt x="24" y="52"/>
                    <a:pt x="25" y="51"/>
                    <a:pt x="26" y="50"/>
                  </a:cubicBezTo>
                  <a:cubicBezTo>
                    <a:pt x="27" y="50"/>
                    <a:pt x="28" y="50"/>
                    <a:pt x="28" y="49"/>
                  </a:cubicBezTo>
                  <a:cubicBezTo>
                    <a:pt x="31" y="48"/>
                    <a:pt x="33" y="49"/>
                    <a:pt x="34" y="50"/>
                  </a:cubicBezTo>
                  <a:cubicBezTo>
                    <a:pt x="36" y="49"/>
                    <a:pt x="37" y="48"/>
                    <a:pt x="38" y="46"/>
                  </a:cubicBezTo>
                  <a:cubicBezTo>
                    <a:pt x="38" y="44"/>
                    <a:pt x="35" y="46"/>
                    <a:pt x="34" y="45"/>
                  </a:cubicBezTo>
                  <a:cubicBezTo>
                    <a:pt x="34" y="45"/>
                    <a:pt x="33" y="42"/>
                    <a:pt x="33" y="42"/>
                  </a:cubicBezTo>
                  <a:cubicBezTo>
                    <a:pt x="33" y="41"/>
                    <a:pt x="31" y="40"/>
                    <a:pt x="32" y="39"/>
                  </a:cubicBezTo>
                  <a:cubicBezTo>
                    <a:pt x="31" y="40"/>
                    <a:pt x="30" y="40"/>
                    <a:pt x="28" y="40"/>
                  </a:cubicBezTo>
                  <a:cubicBezTo>
                    <a:pt x="29" y="38"/>
                    <a:pt x="28" y="37"/>
                    <a:pt x="26" y="37"/>
                  </a:cubicBezTo>
                  <a:cubicBezTo>
                    <a:pt x="27" y="35"/>
                    <a:pt x="28" y="33"/>
                    <a:pt x="32" y="33"/>
                  </a:cubicBezTo>
                  <a:cubicBezTo>
                    <a:pt x="35" y="33"/>
                    <a:pt x="34" y="37"/>
                    <a:pt x="39" y="36"/>
                  </a:cubicBezTo>
                  <a:cubicBezTo>
                    <a:pt x="39" y="37"/>
                    <a:pt x="39" y="38"/>
                    <a:pt x="40" y="38"/>
                  </a:cubicBezTo>
                  <a:cubicBezTo>
                    <a:pt x="44" y="39"/>
                    <a:pt x="42" y="34"/>
                    <a:pt x="44" y="33"/>
                  </a:cubicBezTo>
                  <a:cubicBezTo>
                    <a:pt x="49" y="32"/>
                    <a:pt x="55" y="30"/>
                    <a:pt x="58" y="26"/>
                  </a:cubicBezTo>
                  <a:cubicBezTo>
                    <a:pt x="57" y="23"/>
                    <a:pt x="56" y="28"/>
                    <a:pt x="53" y="26"/>
                  </a:cubicBezTo>
                  <a:cubicBezTo>
                    <a:pt x="51" y="28"/>
                    <a:pt x="48" y="28"/>
                    <a:pt x="47" y="30"/>
                  </a:cubicBezTo>
                  <a:cubicBezTo>
                    <a:pt x="44" y="29"/>
                    <a:pt x="38" y="30"/>
                    <a:pt x="33" y="30"/>
                  </a:cubicBezTo>
                  <a:cubicBezTo>
                    <a:pt x="30" y="30"/>
                    <a:pt x="28" y="28"/>
                    <a:pt x="25" y="30"/>
                  </a:cubicBezTo>
                  <a:cubicBezTo>
                    <a:pt x="24" y="26"/>
                    <a:pt x="21" y="30"/>
                    <a:pt x="19" y="26"/>
                  </a:cubicBezTo>
                  <a:cubicBezTo>
                    <a:pt x="17" y="28"/>
                    <a:pt x="14" y="25"/>
                    <a:pt x="9" y="26"/>
                  </a:cubicBezTo>
                  <a:cubicBezTo>
                    <a:pt x="10" y="22"/>
                    <a:pt x="6" y="25"/>
                    <a:pt x="5" y="23"/>
                  </a:cubicBezTo>
                  <a:cubicBezTo>
                    <a:pt x="4" y="20"/>
                    <a:pt x="7" y="20"/>
                    <a:pt x="8" y="19"/>
                  </a:cubicBezTo>
                  <a:cubicBezTo>
                    <a:pt x="8" y="16"/>
                    <a:pt x="0" y="21"/>
                    <a:pt x="2" y="16"/>
                  </a:cubicBezTo>
                  <a:cubicBezTo>
                    <a:pt x="8" y="14"/>
                    <a:pt x="16" y="13"/>
                    <a:pt x="25" y="12"/>
                  </a:cubicBezTo>
                  <a:cubicBezTo>
                    <a:pt x="26" y="12"/>
                    <a:pt x="26" y="11"/>
                    <a:pt x="26" y="10"/>
                  </a:cubicBezTo>
                  <a:cubicBezTo>
                    <a:pt x="32" y="11"/>
                    <a:pt x="37" y="8"/>
                    <a:pt x="40" y="10"/>
                  </a:cubicBezTo>
                  <a:cubicBezTo>
                    <a:pt x="41" y="9"/>
                    <a:pt x="42" y="8"/>
                    <a:pt x="42" y="6"/>
                  </a:cubicBezTo>
                  <a:cubicBezTo>
                    <a:pt x="49" y="6"/>
                    <a:pt x="56" y="4"/>
                    <a:pt x="61" y="5"/>
                  </a:cubicBezTo>
                  <a:cubicBezTo>
                    <a:pt x="62" y="5"/>
                    <a:pt x="62" y="4"/>
                    <a:pt x="62" y="3"/>
                  </a:cubicBezTo>
                  <a:cubicBezTo>
                    <a:pt x="67" y="3"/>
                    <a:pt x="74" y="2"/>
                    <a:pt x="76" y="4"/>
                  </a:cubicBezTo>
                  <a:cubicBezTo>
                    <a:pt x="77" y="2"/>
                    <a:pt x="82" y="4"/>
                    <a:pt x="82" y="2"/>
                  </a:cubicBezTo>
                  <a:cubicBezTo>
                    <a:pt x="85" y="3"/>
                    <a:pt x="90" y="3"/>
                    <a:pt x="94" y="3"/>
                  </a:cubicBezTo>
                  <a:cubicBezTo>
                    <a:pt x="94" y="2"/>
                    <a:pt x="94" y="2"/>
                    <a:pt x="93" y="2"/>
                  </a:cubicBezTo>
                  <a:cubicBezTo>
                    <a:pt x="93" y="0"/>
                    <a:pt x="94" y="1"/>
                    <a:pt x="94" y="2"/>
                  </a:cubicBezTo>
                  <a:cubicBezTo>
                    <a:pt x="99" y="2"/>
                    <a:pt x="108" y="0"/>
                    <a:pt x="113" y="2"/>
                  </a:cubicBezTo>
                  <a:cubicBezTo>
                    <a:pt x="113" y="2"/>
                    <a:pt x="113" y="4"/>
                    <a:pt x="113" y="4"/>
                  </a:cubicBezTo>
                  <a:cubicBezTo>
                    <a:pt x="122" y="4"/>
                    <a:pt x="123" y="2"/>
                    <a:pt x="133"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2" name="Freeform 84"/>
            <p:cNvSpPr/>
            <p:nvPr/>
          </p:nvSpPr>
          <p:spPr bwMode="auto">
            <a:xfrm>
              <a:off x="4407250" y="1191344"/>
              <a:ext cx="153988" cy="55562"/>
            </a:xfrm>
            <a:custGeom>
              <a:avLst/>
              <a:gdLst>
                <a:gd name="T0" fmla="*/ 26 w 41"/>
                <a:gd name="T1" fmla="*/ 5 h 15"/>
                <a:gd name="T2" fmla="*/ 26 w 41"/>
                <a:gd name="T3" fmla="*/ 7 h 15"/>
                <a:gd name="T4" fmla="*/ 33 w 41"/>
                <a:gd name="T5" fmla="*/ 16 h 15"/>
                <a:gd name="T6" fmla="*/ 43 w 41"/>
                <a:gd name="T7" fmla="*/ 9 h 15"/>
                <a:gd name="T8" fmla="*/ 57 w 41"/>
                <a:gd name="T9" fmla="*/ 16 h 15"/>
                <a:gd name="T10" fmla="*/ 80 w 41"/>
                <a:gd name="T11" fmla="*/ 9 h 15"/>
                <a:gd name="T12" fmla="*/ 92 w 41"/>
                <a:gd name="T13" fmla="*/ 16 h 15"/>
                <a:gd name="T14" fmla="*/ 88 w 41"/>
                <a:gd name="T15" fmla="*/ 26 h 15"/>
                <a:gd name="T16" fmla="*/ 62 w 41"/>
                <a:gd name="T17" fmla="*/ 30 h 15"/>
                <a:gd name="T18" fmla="*/ 45 w 41"/>
                <a:gd name="T19" fmla="*/ 35 h 15"/>
                <a:gd name="T20" fmla="*/ 17 w 41"/>
                <a:gd name="T21" fmla="*/ 16 h 15"/>
                <a:gd name="T22" fmla="*/ 2 w 41"/>
                <a:gd name="T23" fmla="*/ 12 h 15"/>
                <a:gd name="T24" fmla="*/ 26 w 41"/>
                <a:gd name="T25" fmla="*/ 5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15">
                  <a:moveTo>
                    <a:pt x="11" y="2"/>
                  </a:moveTo>
                  <a:cubicBezTo>
                    <a:pt x="12" y="2"/>
                    <a:pt x="11" y="3"/>
                    <a:pt x="11" y="3"/>
                  </a:cubicBezTo>
                  <a:cubicBezTo>
                    <a:pt x="10" y="6"/>
                    <a:pt x="16" y="2"/>
                    <a:pt x="14" y="7"/>
                  </a:cubicBezTo>
                  <a:cubicBezTo>
                    <a:pt x="17" y="7"/>
                    <a:pt x="16" y="4"/>
                    <a:pt x="18" y="4"/>
                  </a:cubicBezTo>
                  <a:cubicBezTo>
                    <a:pt x="21" y="7"/>
                    <a:pt x="23" y="2"/>
                    <a:pt x="24" y="7"/>
                  </a:cubicBezTo>
                  <a:cubicBezTo>
                    <a:pt x="27" y="6"/>
                    <a:pt x="31" y="5"/>
                    <a:pt x="34" y="4"/>
                  </a:cubicBezTo>
                  <a:cubicBezTo>
                    <a:pt x="34" y="8"/>
                    <a:pt x="40" y="3"/>
                    <a:pt x="39" y="7"/>
                  </a:cubicBezTo>
                  <a:cubicBezTo>
                    <a:pt x="41" y="10"/>
                    <a:pt x="32" y="9"/>
                    <a:pt x="37" y="11"/>
                  </a:cubicBezTo>
                  <a:cubicBezTo>
                    <a:pt x="35" y="14"/>
                    <a:pt x="29" y="12"/>
                    <a:pt x="26" y="13"/>
                  </a:cubicBezTo>
                  <a:cubicBezTo>
                    <a:pt x="23" y="13"/>
                    <a:pt x="21" y="14"/>
                    <a:pt x="19" y="15"/>
                  </a:cubicBezTo>
                  <a:cubicBezTo>
                    <a:pt x="14" y="13"/>
                    <a:pt x="10" y="11"/>
                    <a:pt x="7" y="7"/>
                  </a:cubicBezTo>
                  <a:cubicBezTo>
                    <a:pt x="6" y="6"/>
                    <a:pt x="1" y="8"/>
                    <a:pt x="1" y="5"/>
                  </a:cubicBezTo>
                  <a:cubicBezTo>
                    <a:pt x="0" y="0"/>
                    <a:pt x="10" y="6"/>
                    <a:pt x="1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3" name="Freeform 85"/>
            <p:cNvSpPr/>
            <p:nvPr/>
          </p:nvSpPr>
          <p:spPr bwMode="auto">
            <a:xfrm>
              <a:off x="8695914" y="1271437"/>
              <a:ext cx="68263" cy="19050"/>
            </a:xfrm>
            <a:custGeom>
              <a:avLst/>
              <a:gdLst>
                <a:gd name="T0" fmla="*/ 41 w 18"/>
                <a:gd name="T1" fmla="*/ 0 h 5"/>
                <a:gd name="T2" fmla="*/ 24 w 18"/>
                <a:gd name="T3" fmla="*/ 7 h 5"/>
                <a:gd name="T4" fmla="*/ 19 w 18"/>
                <a:gd name="T5" fmla="*/ 12 h 5"/>
                <a:gd name="T6" fmla="*/ 7 w 18"/>
                <a:gd name="T7" fmla="*/ 12 h 5"/>
                <a:gd name="T8" fmla="*/ 14 w 18"/>
                <a:gd name="T9" fmla="*/ 2 h 5"/>
                <a:gd name="T10" fmla="*/ 41 w 18"/>
                <a:gd name="T11" fmla="*/ 0 h 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8" h="5">
                  <a:moveTo>
                    <a:pt x="17" y="0"/>
                  </a:moveTo>
                  <a:cubicBezTo>
                    <a:pt x="18" y="3"/>
                    <a:pt x="13" y="3"/>
                    <a:pt x="10" y="3"/>
                  </a:cubicBezTo>
                  <a:cubicBezTo>
                    <a:pt x="9" y="3"/>
                    <a:pt x="9" y="4"/>
                    <a:pt x="8" y="5"/>
                  </a:cubicBezTo>
                  <a:cubicBezTo>
                    <a:pt x="6" y="5"/>
                    <a:pt x="3" y="3"/>
                    <a:pt x="3" y="5"/>
                  </a:cubicBezTo>
                  <a:cubicBezTo>
                    <a:pt x="0" y="5"/>
                    <a:pt x="5" y="1"/>
                    <a:pt x="6" y="1"/>
                  </a:cubicBezTo>
                  <a:cubicBezTo>
                    <a:pt x="8" y="3"/>
                    <a:pt x="13" y="0"/>
                    <a:pt x="17"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4" name="Freeform 86"/>
            <p:cNvSpPr/>
            <p:nvPr/>
          </p:nvSpPr>
          <p:spPr bwMode="auto">
            <a:xfrm>
              <a:off x="8973727" y="1271437"/>
              <a:ext cx="63500" cy="38100"/>
            </a:xfrm>
            <a:custGeom>
              <a:avLst/>
              <a:gdLst>
                <a:gd name="T0" fmla="*/ 19 w 17"/>
                <a:gd name="T1" fmla="*/ 0 h 10"/>
                <a:gd name="T2" fmla="*/ 14 w 17"/>
                <a:gd name="T3" fmla="*/ 2 h 10"/>
                <a:gd name="T4" fmla="*/ 28 w 17"/>
                <a:gd name="T5" fmla="*/ 12 h 10"/>
                <a:gd name="T6" fmla="*/ 33 w 17"/>
                <a:gd name="T7" fmla="*/ 7 h 10"/>
                <a:gd name="T8" fmla="*/ 16 w 17"/>
                <a:gd name="T9" fmla="*/ 24 h 10"/>
                <a:gd name="T10" fmla="*/ 0 w 17"/>
                <a:gd name="T11" fmla="*/ 5 h 10"/>
                <a:gd name="T12" fmla="*/ 19 w 17"/>
                <a:gd name="T13" fmla="*/ 0 h 1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10">
                  <a:moveTo>
                    <a:pt x="8" y="0"/>
                  </a:moveTo>
                  <a:cubicBezTo>
                    <a:pt x="8" y="1"/>
                    <a:pt x="7" y="1"/>
                    <a:pt x="6" y="1"/>
                  </a:cubicBezTo>
                  <a:cubicBezTo>
                    <a:pt x="6" y="4"/>
                    <a:pt x="13" y="0"/>
                    <a:pt x="12" y="5"/>
                  </a:cubicBezTo>
                  <a:cubicBezTo>
                    <a:pt x="13" y="5"/>
                    <a:pt x="14" y="4"/>
                    <a:pt x="14" y="3"/>
                  </a:cubicBezTo>
                  <a:cubicBezTo>
                    <a:pt x="17" y="7"/>
                    <a:pt x="8" y="7"/>
                    <a:pt x="7" y="10"/>
                  </a:cubicBezTo>
                  <a:cubicBezTo>
                    <a:pt x="4" y="8"/>
                    <a:pt x="4" y="3"/>
                    <a:pt x="0" y="2"/>
                  </a:cubicBezTo>
                  <a:cubicBezTo>
                    <a:pt x="1" y="0"/>
                    <a:pt x="6" y="1"/>
                    <a:pt x="8"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5" name="Freeform 87"/>
            <p:cNvSpPr>
              <a:spLocks noEditPoints="1"/>
            </p:cNvSpPr>
            <p:nvPr/>
          </p:nvSpPr>
          <p:spPr bwMode="auto">
            <a:xfrm>
              <a:off x="3754788" y="1315169"/>
              <a:ext cx="3732213" cy="2444750"/>
            </a:xfrm>
            <a:custGeom>
              <a:avLst/>
              <a:gdLst>
                <a:gd name="T0" fmla="*/ 1396 w 995"/>
                <a:gd name="T1" fmla="*/ 106 h 652"/>
                <a:gd name="T2" fmla="*/ 1649 w 995"/>
                <a:gd name="T3" fmla="*/ 106 h 652"/>
                <a:gd name="T4" fmla="*/ 1862 w 995"/>
                <a:gd name="T5" fmla="*/ 128 h 652"/>
                <a:gd name="T6" fmla="*/ 2136 w 995"/>
                <a:gd name="T7" fmla="*/ 172 h 652"/>
                <a:gd name="T8" fmla="*/ 2351 w 995"/>
                <a:gd name="T9" fmla="*/ 241 h 652"/>
                <a:gd name="T10" fmla="*/ 2214 w 995"/>
                <a:gd name="T11" fmla="*/ 274 h 652"/>
                <a:gd name="T12" fmla="*/ 2039 w 995"/>
                <a:gd name="T13" fmla="*/ 409 h 652"/>
                <a:gd name="T14" fmla="*/ 1971 w 995"/>
                <a:gd name="T15" fmla="*/ 449 h 652"/>
                <a:gd name="T16" fmla="*/ 2060 w 995"/>
                <a:gd name="T17" fmla="*/ 309 h 652"/>
                <a:gd name="T18" fmla="*/ 1862 w 995"/>
                <a:gd name="T19" fmla="*/ 368 h 652"/>
                <a:gd name="T20" fmla="*/ 1798 w 995"/>
                <a:gd name="T21" fmla="*/ 465 h 652"/>
                <a:gd name="T22" fmla="*/ 1685 w 995"/>
                <a:gd name="T23" fmla="*/ 619 h 652"/>
                <a:gd name="T24" fmla="*/ 1614 w 995"/>
                <a:gd name="T25" fmla="*/ 654 h 652"/>
                <a:gd name="T26" fmla="*/ 1583 w 995"/>
                <a:gd name="T27" fmla="*/ 692 h 652"/>
                <a:gd name="T28" fmla="*/ 1484 w 995"/>
                <a:gd name="T29" fmla="*/ 874 h 652"/>
                <a:gd name="T30" fmla="*/ 1427 w 995"/>
                <a:gd name="T31" fmla="*/ 1006 h 652"/>
                <a:gd name="T32" fmla="*/ 1335 w 995"/>
                <a:gd name="T33" fmla="*/ 1023 h 652"/>
                <a:gd name="T34" fmla="*/ 1316 w 995"/>
                <a:gd name="T35" fmla="*/ 1027 h 652"/>
                <a:gd name="T36" fmla="*/ 1266 w 995"/>
                <a:gd name="T37" fmla="*/ 898 h 652"/>
                <a:gd name="T38" fmla="*/ 1108 w 995"/>
                <a:gd name="T39" fmla="*/ 980 h 652"/>
                <a:gd name="T40" fmla="*/ 992 w 995"/>
                <a:gd name="T41" fmla="*/ 864 h 652"/>
                <a:gd name="T42" fmla="*/ 782 w 995"/>
                <a:gd name="T43" fmla="*/ 831 h 652"/>
                <a:gd name="T44" fmla="*/ 832 w 995"/>
                <a:gd name="T45" fmla="*/ 919 h 652"/>
                <a:gd name="T46" fmla="*/ 676 w 995"/>
                <a:gd name="T47" fmla="*/ 928 h 652"/>
                <a:gd name="T48" fmla="*/ 584 w 995"/>
                <a:gd name="T49" fmla="*/ 815 h 652"/>
                <a:gd name="T50" fmla="*/ 657 w 995"/>
                <a:gd name="T51" fmla="*/ 964 h 652"/>
                <a:gd name="T52" fmla="*/ 702 w 995"/>
                <a:gd name="T53" fmla="*/ 1117 h 652"/>
                <a:gd name="T54" fmla="*/ 614 w 995"/>
                <a:gd name="T55" fmla="*/ 1339 h 652"/>
                <a:gd name="T56" fmla="*/ 525 w 995"/>
                <a:gd name="T57" fmla="*/ 1512 h 652"/>
                <a:gd name="T58" fmla="*/ 354 w 995"/>
                <a:gd name="T59" fmla="*/ 1379 h 652"/>
                <a:gd name="T60" fmla="*/ 333 w 995"/>
                <a:gd name="T61" fmla="*/ 1176 h 652"/>
                <a:gd name="T62" fmla="*/ 69 w 995"/>
                <a:gd name="T63" fmla="*/ 1046 h 652"/>
                <a:gd name="T64" fmla="*/ 9 w 995"/>
                <a:gd name="T65" fmla="*/ 879 h 652"/>
                <a:gd name="T66" fmla="*/ 241 w 995"/>
                <a:gd name="T67" fmla="*/ 694 h 652"/>
                <a:gd name="T68" fmla="*/ 392 w 995"/>
                <a:gd name="T69" fmla="*/ 763 h 652"/>
                <a:gd name="T70" fmla="*/ 565 w 995"/>
                <a:gd name="T71" fmla="*/ 763 h 652"/>
                <a:gd name="T72" fmla="*/ 461 w 995"/>
                <a:gd name="T73" fmla="*/ 650 h 652"/>
                <a:gd name="T74" fmla="*/ 380 w 995"/>
                <a:gd name="T75" fmla="*/ 600 h 652"/>
                <a:gd name="T76" fmla="*/ 388 w 995"/>
                <a:gd name="T77" fmla="*/ 645 h 652"/>
                <a:gd name="T78" fmla="*/ 236 w 995"/>
                <a:gd name="T79" fmla="*/ 607 h 652"/>
                <a:gd name="T80" fmla="*/ 172 w 995"/>
                <a:gd name="T81" fmla="*/ 605 h 652"/>
                <a:gd name="T82" fmla="*/ 236 w 995"/>
                <a:gd name="T83" fmla="*/ 491 h 652"/>
                <a:gd name="T84" fmla="*/ 319 w 995"/>
                <a:gd name="T85" fmla="*/ 435 h 652"/>
                <a:gd name="T86" fmla="*/ 473 w 995"/>
                <a:gd name="T87" fmla="*/ 368 h 652"/>
                <a:gd name="T88" fmla="*/ 468 w 995"/>
                <a:gd name="T89" fmla="*/ 293 h 652"/>
                <a:gd name="T90" fmla="*/ 413 w 995"/>
                <a:gd name="T91" fmla="*/ 354 h 652"/>
                <a:gd name="T92" fmla="*/ 272 w 995"/>
                <a:gd name="T93" fmla="*/ 373 h 652"/>
                <a:gd name="T94" fmla="*/ 340 w 995"/>
                <a:gd name="T95" fmla="*/ 250 h 652"/>
                <a:gd name="T96" fmla="*/ 529 w 995"/>
                <a:gd name="T97" fmla="*/ 158 h 652"/>
                <a:gd name="T98" fmla="*/ 593 w 995"/>
                <a:gd name="T99" fmla="*/ 229 h 652"/>
                <a:gd name="T100" fmla="*/ 702 w 995"/>
                <a:gd name="T101" fmla="*/ 198 h 652"/>
                <a:gd name="T102" fmla="*/ 891 w 995"/>
                <a:gd name="T103" fmla="*/ 189 h 652"/>
                <a:gd name="T104" fmla="*/ 985 w 995"/>
                <a:gd name="T105" fmla="*/ 125 h 652"/>
                <a:gd name="T106" fmla="*/ 1051 w 995"/>
                <a:gd name="T107" fmla="*/ 194 h 652"/>
                <a:gd name="T108" fmla="*/ 1096 w 995"/>
                <a:gd name="T109" fmla="*/ 120 h 652"/>
                <a:gd name="T110" fmla="*/ 1328 w 995"/>
                <a:gd name="T111" fmla="*/ 26 h 652"/>
                <a:gd name="T112" fmla="*/ 555 w 995"/>
                <a:gd name="T113" fmla="*/ 557 h 652"/>
                <a:gd name="T114" fmla="*/ 671 w 995"/>
                <a:gd name="T115" fmla="*/ 633 h 652"/>
                <a:gd name="T116" fmla="*/ 794 w 995"/>
                <a:gd name="T117" fmla="*/ 614 h 652"/>
                <a:gd name="T118" fmla="*/ 754 w 995"/>
                <a:gd name="T119" fmla="*/ 671 h 652"/>
                <a:gd name="T120" fmla="*/ 560 w 995"/>
                <a:gd name="T121" fmla="*/ 1136 h 6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995" h="652">
                  <a:moveTo>
                    <a:pt x="599" y="7"/>
                  </a:moveTo>
                  <a:cubicBezTo>
                    <a:pt x="599" y="8"/>
                    <a:pt x="601" y="8"/>
                    <a:pt x="603" y="8"/>
                  </a:cubicBezTo>
                  <a:cubicBezTo>
                    <a:pt x="603" y="9"/>
                    <a:pt x="601" y="9"/>
                    <a:pt x="599" y="9"/>
                  </a:cubicBezTo>
                  <a:cubicBezTo>
                    <a:pt x="604" y="14"/>
                    <a:pt x="609" y="7"/>
                    <a:pt x="618" y="9"/>
                  </a:cubicBezTo>
                  <a:cubicBezTo>
                    <a:pt x="620" y="12"/>
                    <a:pt x="623" y="14"/>
                    <a:pt x="628" y="15"/>
                  </a:cubicBezTo>
                  <a:cubicBezTo>
                    <a:pt x="628" y="16"/>
                    <a:pt x="627" y="18"/>
                    <a:pt x="628" y="20"/>
                  </a:cubicBezTo>
                  <a:cubicBezTo>
                    <a:pt x="628" y="21"/>
                    <a:pt x="630" y="21"/>
                    <a:pt x="630" y="23"/>
                  </a:cubicBezTo>
                  <a:cubicBezTo>
                    <a:pt x="627" y="23"/>
                    <a:pt x="628" y="25"/>
                    <a:pt x="628" y="27"/>
                  </a:cubicBezTo>
                  <a:cubicBezTo>
                    <a:pt x="626" y="26"/>
                    <a:pt x="625" y="25"/>
                    <a:pt x="623" y="25"/>
                  </a:cubicBezTo>
                  <a:cubicBezTo>
                    <a:pt x="621" y="26"/>
                    <a:pt x="623" y="27"/>
                    <a:pt x="622" y="28"/>
                  </a:cubicBezTo>
                  <a:cubicBezTo>
                    <a:pt x="621" y="28"/>
                    <a:pt x="620" y="27"/>
                    <a:pt x="619" y="27"/>
                  </a:cubicBezTo>
                  <a:cubicBezTo>
                    <a:pt x="618" y="27"/>
                    <a:pt x="616" y="29"/>
                    <a:pt x="612" y="28"/>
                  </a:cubicBezTo>
                  <a:cubicBezTo>
                    <a:pt x="611" y="27"/>
                    <a:pt x="612" y="30"/>
                    <a:pt x="611" y="30"/>
                  </a:cubicBezTo>
                  <a:cubicBezTo>
                    <a:pt x="611" y="30"/>
                    <a:pt x="609" y="30"/>
                    <a:pt x="609" y="30"/>
                  </a:cubicBezTo>
                  <a:cubicBezTo>
                    <a:pt x="608" y="31"/>
                    <a:pt x="611" y="32"/>
                    <a:pt x="609" y="35"/>
                  </a:cubicBezTo>
                  <a:cubicBezTo>
                    <a:pt x="608" y="33"/>
                    <a:pt x="602" y="35"/>
                    <a:pt x="605" y="36"/>
                  </a:cubicBezTo>
                  <a:cubicBezTo>
                    <a:pt x="603" y="38"/>
                    <a:pt x="599" y="37"/>
                    <a:pt x="596" y="38"/>
                  </a:cubicBezTo>
                  <a:cubicBezTo>
                    <a:pt x="594" y="39"/>
                    <a:pt x="592" y="42"/>
                    <a:pt x="590" y="42"/>
                  </a:cubicBezTo>
                  <a:cubicBezTo>
                    <a:pt x="590" y="44"/>
                    <a:pt x="590" y="45"/>
                    <a:pt x="589" y="45"/>
                  </a:cubicBezTo>
                  <a:cubicBezTo>
                    <a:pt x="589" y="47"/>
                    <a:pt x="590" y="45"/>
                    <a:pt x="591" y="45"/>
                  </a:cubicBezTo>
                  <a:cubicBezTo>
                    <a:pt x="595" y="46"/>
                    <a:pt x="596" y="43"/>
                    <a:pt x="598" y="42"/>
                  </a:cubicBezTo>
                  <a:cubicBezTo>
                    <a:pt x="600" y="41"/>
                    <a:pt x="600" y="43"/>
                    <a:pt x="602" y="43"/>
                  </a:cubicBezTo>
                  <a:cubicBezTo>
                    <a:pt x="603" y="43"/>
                    <a:pt x="603" y="41"/>
                    <a:pt x="604" y="41"/>
                  </a:cubicBezTo>
                  <a:cubicBezTo>
                    <a:pt x="606" y="40"/>
                    <a:pt x="609" y="41"/>
                    <a:pt x="612" y="40"/>
                  </a:cubicBezTo>
                  <a:cubicBezTo>
                    <a:pt x="614" y="39"/>
                    <a:pt x="611" y="38"/>
                    <a:pt x="613" y="37"/>
                  </a:cubicBezTo>
                  <a:cubicBezTo>
                    <a:pt x="614" y="37"/>
                    <a:pt x="615" y="38"/>
                    <a:pt x="616" y="37"/>
                  </a:cubicBezTo>
                  <a:cubicBezTo>
                    <a:pt x="616" y="37"/>
                    <a:pt x="617" y="35"/>
                    <a:pt x="617" y="35"/>
                  </a:cubicBezTo>
                  <a:cubicBezTo>
                    <a:pt x="617" y="35"/>
                    <a:pt x="620" y="36"/>
                    <a:pt x="622" y="36"/>
                  </a:cubicBezTo>
                  <a:cubicBezTo>
                    <a:pt x="624" y="36"/>
                    <a:pt x="625" y="35"/>
                    <a:pt x="628" y="35"/>
                  </a:cubicBezTo>
                  <a:cubicBezTo>
                    <a:pt x="628" y="36"/>
                    <a:pt x="628" y="37"/>
                    <a:pt x="628" y="38"/>
                  </a:cubicBezTo>
                  <a:cubicBezTo>
                    <a:pt x="629" y="37"/>
                    <a:pt x="630" y="37"/>
                    <a:pt x="630" y="40"/>
                  </a:cubicBezTo>
                  <a:cubicBezTo>
                    <a:pt x="636" y="39"/>
                    <a:pt x="646" y="40"/>
                    <a:pt x="656" y="40"/>
                  </a:cubicBezTo>
                  <a:cubicBezTo>
                    <a:pt x="655" y="45"/>
                    <a:pt x="664" y="41"/>
                    <a:pt x="663" y="47"/>
                  </a:cubicBezTo>
                  <a:cubicBezTo>
                    <a:pt x="664" y="45"/>
                    <a:pt x="666" y="47"/>
                    <a:pt x="668" y="47"/>
                  </a:cubicBezTo>
                  <a:cubicBezTo>
                    <a:pt x="671" y="47"/>
                    <a:pt x="675" y="46"/>
                    <a:pt x="677" y="47"/>
                  </a:cubicBezTo>
                  <a:cubicBezTo>
                    <a:pt x="679" y="46"/>
                    <a:pt x="677" y="41"/>
                    <a:pt x="679" y="41"/>
                  </a:cubicBezTo>
                  <a:cubicBezTo>
                    <a:pt x="683" y="42"/>
                    <a:pt x="687" y="41"/>
                    <a:pt x="691" y="42"/>
                  </a:cubicBezTo>
                  <a:cubicBezTo>
                    <a:pt x="691" y="42"/>
                    <a:pt x="691" y="43"/>
                    <a:pt x="691" y="43"/>
                  </a:cubicBezTo>
                  <a:cubicBezTo>
                    <a:pt x="693" y="43"/>
                    <a:pt x="695" y="43"/>
                    <a:pt x="697" y="43"/>
                  </a:cubicBezTo>
                  <a:cubicBezTo>
                    <a:pt x="698" y="43"/>
                    <a:pt x="698" y="45"/>
                    <a:pt x="698" y="45"/>
                  </a:cubicBezTo>
                  <a:cubicBezTo>
                    <a:pt x="700" y="46"/>
                    <a:pt x="703" y="45"/>
                    <a:pt x="704" y="47"/>
                  </a:cubicBezTo>
                  <a:cubicBezTo>
                    <a:pt x="704" y="49"/>
                    <a:pt x="704" y="52"/>
                    <a:pt x="700" y="51"/>
                  </a:cubicBezTo>
                  <a:cubicBezTo>
                    <a:pt x="701" y="53"/>
                    <a:pt x="703" y="54"/>
                    <a:pt x="705" y="54"/>
                  </a:cubicBezTo>
                  <a:cubicBezTo>
                    <a:pt x="704" y="61"/>
                    <a:pt x="710" y="61"/>
                    <a:pt x="712" y="64"/>
                  </a:cubicBezTo>
                  <a:cubicBezTo>
                    <a:pt x="714" y="63"/>
                    <a:pt x="717" y="62"/>
                    <a:pt x="718" y="61"/>
                  </a:cubicBezTo>
                  <a:cubicBezTo>
                    <a:pt x="719" y="60"/>
                    <a:pt x="718" y="58"/>
                    <a:pt x="719" y="57"/>
                  </a:cubicBezTo>
                  <a:cubicBezTo>
                    <a:pt x="720" y="57"/>
                    <a:pt x="722" y="58"/>
                    <a:pt x="722" y="56"/>
                  </a:cubicBezTo>
                  <a:cubicBezTo>
                    <a:pt x="725" y="55"/>
                    <a:pt x="724" y="59"/>
                    <a:pt x="725" y="60"/>
                  </a:cubicBezTo>
                  <a:cubicBezTo>
                    <a:pt x="728" y="60"/>
                    <a:pt x="731" y="60"/>
                    <a:pt x="733" y="60"/>
                  </a:cubicBezTo>
                  <a:cubicBezTo>
                    <a:pt x="735" y="58"/>
                    <a:pt x="738" y="59"/>
                    <a:pt x="737" y="56"/>
                  </a:cubicBezTo>
                  <a:cubicBezTo>
                    <a:pt x="741" y="57"/>
                    <a:pt x="750" y="53"/>
                    <a:pt x="750" y="58"/>
                  </a:cubicBezTo>
                  <a:cubicBezTo>
                    <a:pt x="753" y="59"/>
                    <a:pt x="752" y="54"/>
                    <a:pt x="757" y="56"/>
                  </a:cubicBezTo>
                  <a:cubicBezTo>
                    <a:pt x="757" y="55"/>
                    <a:pt x="756" y="55"/>
                    <a:pt x="755" y="55"/>
                  </a:cubicBezTo>
                  <a:cubicBezTo>
                    <a:pt x="756" y="54"/>
                    <a:pt x="755" y="52"/>
                    <a:pt x="757" y="51"/>
                  </a:cubicBezTo>
                  <a:cubicBezTo>
                    <a:pt x="760" y="52"/>
                    <a:pt x="759" y="47"/>
                    <a:pt x="764" y="49"/>
                  </a:cubicBezTo>
                  <a:cubicBezTo>
                    <a:pt x="766" y="49"/>
                    <a:pt x="764" y="48"/>
                    <a:pt x="764" y="48"/>
                  </a:cubicBezTo>
                  <a:cubicBezTo>
                    <a:pt x="766" y="45"/>
                    <a:pt x="769" y="47"/>
                    <a:pt x="773" y="47"/>
                  </a:cubicBezTo>
                  <a:cubicBezTo>
                    <a:pt x="773" y="53"/>
                    <a:pt x="780" y="45"/>
                    <a:pt x="778" y="50"/>
                  </a:cubicBezTo>
                  <a:cubicBezTo>
                    <a:pt x="783" y="51"/>
                    <a:pt x="787" y="50"/>
                    <a:pt x="791" y="49"/>
                  </a:cubicBezTo>
                  <a:cubicBezTo>
                    <a:pt x="792" y="52"/>
                    <a:pt x="787" y="50"/>
                    <a:pt x="788" y="54"/>
                  </a:cubicBezTo>
                  <a:cubicBezTo>
                    <a:pt x="788" y="56"/>
                    <a:pt x="792" y="55"/>
                    <a:pt x="795" y="55"/>
                  </a:cubicBezTo>
                  <a:cubicBezTo>
                    <a:pt x="799" y="55"/>
                    <a:pt x="803" y="55"/>
                    <a:pt x="806" y="54"/>
                  </a:cubicBezTo>
                  <a:cubicBezTo>
                    <a:pt x="807" y="58"/>
                    <a:pt x="813" y="58"/>
                    <a:pt x="815" y="62"/>
                  </a:cubicBezTo>
                  <a:cubicBezTo>
                    <a:pt x="817" y="61"/>
                    <a:pt x="818" y="63"/>
                    <a:pt x="821" y="63"/>
                  </a:cubicBezTo>
                  <a:cubicBezTo>
                    <a:pt x="828" y="64"/>
                    <a:pt x="836" y="62"/>
                    <a:pt x="843" y="63"/>
                  </a:cubicBezTo>
                  <a:cubicBezTo>
                    <a:pt x="846" y="64"/>
                    <a:pt x="848" y="67"/>
                    <a:pt x="851" y="65"/>
                  </a:cubicBezTo>
                  <a:cubicBezTo>
                    <a:pt x="851" y="67"/>
                    <a:pt x="852" y="68"/>
                    <a:pt x="854" y="68"/>
                  </a:cubicBezTo>
                  <a:cubicBezTo>
                    <a:pt x="854" y="69"/>
                    <a:pt x="854" y="71"/>
                    <a:pt x="854" y="73"/>
                  </a:cubicBezTo>
                  <a:cubicBezTo>
                    <a:pt x="853" y="75"/>
                    <a:pt x="857" y="73"/>
                    <a:pt x="858" y="74"/>
                  </a:cubicBezTo>
                  <a:cubicBezTo>
                    <a:pt x="860" y="75"/>
                    <a:pt x="859" y="73"/>
                    <a:pt x="861" y="74"/>
                  </a:cubicBezTo>
                  <a:cubicBezTo>
                    <a:pt x="861" y="74"/>
                    <a:pt x="861" y="75"/>
                    <a:pt x="862" y="75"/>
                  </a:cubicBezTo>
                  <a:cubicBezTo>
                    <a:pt x="864" y="75"/>
                    <a:pt x="876" y="76"/>
                    <a:pt x="877" y="75"/>
                  </a:cubicBezTo>
                  <a:cubicBezTo>
                    <a:pt x="877" y="75"/>
                    <a:pt x="877" y="74"/>
                    <a:pt x="877" y="74"/>
                  </a:cubicBezTo>
                  <a:cubicBezTo>
                    <a:pt x="878" y="74"/>
                    <a:pt x="880" y="75"/>
                    <a:pt x="881" y="75"/>
                  </a:cubicBezTo>
                  <a:cubicBezTo>
                    <a:pt x="882" y="74"/>
                    <a:pt x="884" y="73"/>
                    <a:pt x="884" y="75"/>
                  </a:cubicBezTo>
                  <a:cubicBezTo>
                    <a:pt x="886" y="73"/>
                    <a:pt x="890" y="72"/>
                    <a:pt x="894" y="71"/>
                  </a:cubicBezTo>
                  <a:cubicBezTo>
                    <a:pt x="893" y="75"/>
                    <a:pt x="894" y="77"/>
                    <a:pt x="895" y="80"/>
                  </a:cubicBezTo>
                  <a:cubicBezTo>
                    <a:pt x="900" y="79"/>
                    <a:pt x="901" y="82"/>
                    <a:pt x="905" y="80"/>
                  </a:cubicBezTo>
                  <a:cubicBezTo>
                    <a:pt x="906" y="78"/>
                    <a:pt x="904" y="77"/>
                    <a:pt x="903" y="77"/>
                  </a:cubicBezTo>
                  <a:cubicBezTo>
                    <a:pt x="904" y="76"/>
                    <a:pt x="904" y="75"/>
                    <a:pt x="904" y="73"/>
                  </a:cubicBezTo>
                  <a:cubicBezTo>
                    <a:pt x="907" y="70"/>
                    <a:pt x="914" y="71"/>
                    <a:pt x="916" y="74"/>
                  </a:cubicBezTo>
                  <a:cubicBezTo>
                    <a:pt x="921" y="74"/>
                    <a:pt x="926" y="73"/>
                    <a:pt x="931" y="74"/>
                  </a:cubicBezTo>
                  <a:cubicBezTo>
                    <a:pt x="933" y="74"/>
                    <a:pt x="936" y="77"/>
                    <a:pt x="937" y="74"/>
                  </a:cubicBezTo>
                  <a:cubicBezTo>
                    <a:pt x="940" y="75"/>
                    <a:pt x="939" y="76"/>
                    <a:pt x="943" y="77"/>
                  </a:cubicBezTo>
                  <a:cubicBezTo>
                    <a:pt x="944" y="78"/>
                    <a:pt x="945" y="80"/>
                    <a:pt x="945" y="80"/>
                  </a:cubicBezTo>
                  <a:cubicBezTo>
                    <a:pt x="946" y="80"/>
                    <a:pt x="947" y="79"/>
                    <a:pt x="947" y="78"/>
                  </a:cubicBezTo>
                  <a:cubicBezTo>
                    <a:pt x="948" y="79"/>
                    <a:pt x="947" y="80"/>
                    <a:pt x="948" y="81"/>
                  </a:cubicBezTo>
                  <a:cubicBezTo>
                    <a:pt x="948" y="81"/>
                    <a:pt x="950" y="80"/>
                    <a:pt x="950" y="81"/>
                  </a:cubicBezTo>
                  <a:cubicBezTo>
                    <a:pt x="951" y="82"/>
                    <a:pt x="953" y="82"/>
                    <a:pt x="956" y="83"/>
                  </a:cubicBezTo>
                  <a:cubicBezTo>
                    <a:pt x="958" y="84"/>
                    <a:pt x="961" y="84"/>
                    <a:pt x="963" y="86"/>
                  </a:cubicBezTo>
                  <a:cubicBezTo>
                    <a:pt x="964" y="86"/>
                    <a:pt x="964" y="88"/>
                    <a:pt x="964" y="88"/>
                  </a:cubicBezTo>
                  <a:cubicBezTo>
                    <a:pt x="965" y="88"/>
                    <a:pt x="966" y="87"/>
                    <a:pt x="967" y="88"/>
                  </a:cubicBezTo>
                  <a:cubicBezTo>
                    <a:pt x="967" y="88"/>
                    <a:pt x="966" y="90"/>
                    <a:pt x="967" y="90"/>
                  </a:cubicBezTo>
                  <a:cubicBezTo>
                    <a:pt x="967" y="91"/>
                    <a:pt x="969" y="90"/>
                    <a:pt x="969" y="90"/>
                  </a:cubicBezTo>
                  <a:cubicBezTo>
                    <a:pt x="970" y="91"/>
                    <a:pt x="968" y="95"/>
                    <a:pt x="972" y="94"/>
                  </a:cubicBezTo>
                  <a:cubicBezTo>
                    <a:pt x="972" y="97"/>
                    <a:pt x="972" y="99"/>
                    <a:pt x="972" y="102"/>
                  </a:cubicBezTo>
                  <a:cubicBezTo>
                    <a:pt x="977" y="102"/>
                    <a:pt x="980" y="101"/>
                    <a:pt x="981" y="97"/>
                  </a:cubicBezTo>
                  <a:cubicBezTo>
                    <a:pt x="984" y="99"/>
                    <a:pt x="988" y="98"/>
                    <a:pt x="991" y="100"/>
                  </a:cubicBezTo>
                  <a:cubicBezTo>
                    <a:pt x="992" y="100"/>
                    <a:pt x="991" y="102"/>
                    <a:pt x="991" y="102"/>
                  </a:cubicBezTo>
                  <a:cubicBezTo>
                    <a:pt x="992" y="103"/>
                    <a:pt x="994" y="102"/>
                    <a:pt x="995" y="102"/>
                  </a:cubicBezTo>
                  <a:cubicBezTo>
                    <a:pt x="994" y="103"/>
                    <a:pt x="992" y="103"/>
                    <a:pt x="992" y="106"/>
                  </a:cubicBezTo>
                  <a:cubicBezTo>
                    <a:pt x="991" y="106"/>
                    <a:pt x="990" y="104"/>
                    <a:pt x="989" y="104"/>
                  </a:cubicBezTo>
                  <a:cubicBezTo>
                    <a:pt x="988" y="105"/>
                    <a:pt x="988" y="107"/>
                    <a:pt x="985" y="107"/>
                  </a:cubicBezTo>
                  <a:cubicBezTo>
                    <a:pt x="986" y="109"/>
                    <a:pt x="989" y="108"/>
                    <a:pt x="988" y="111"/>
                  </a:cubicBezTo>
                  <a:cubicBezTo>
                    <a:pt x="983" y="108"/>
                    <a:pt x="987" y="113"/>
                    <a:pt x="984" y="114"/>
                  </a:cubicBezTo>
                  <a:cubicBezTo>
                    <a:pt x="983" y="114"/>
                    <a:pt x="982" y="115"/>
                    <a:pt x="982" y="116"/>
                  </a:cubicBezTo>
                  <a:cubicBezTo>
                    <a:pt x="980" y="116"/>
                    <a:pt x="979" y="116"/>
                    <a:pt x="978" y="115"/>
                  </a:cubicBezTo>
                  <a:cubicBezTo>
                    <a:pt x="978" y="115"/>
                    <a:pt x="977" y="113"/>
                    <a:pt x="976" y="113"/>
                  </a:cubicBezTo>
                  <a:cubicBezTo>
                    <a:pt x="974" y="112"/>
                    <a:pt x="973" y="112"/>
                    <a:pt x="971" y="111"/>
                  </a:cubicBezTo>
                  <a:cubicBezTo>
                    <a:pt x="970" y="111"/>
                    <a:pt x="969" y="109"/>
                    <a:pt x="969" y="109"/>
                  </a:cubicBezTo>
                  <a:cubicBezTo>
                    <a:pt x="968" y="108"/>
                    <a:pt x="966" y="109"/>
                    <a:pt x="964" y="109"/>
                  </a:cubicBezTo>
                  <a:cubicBezTo>
                    <a:pt x="964" y="109"/>
                    <a:pt x="964" y="108"/>
                    <a:pt x="963" y="108"/>
                  </a:cubicBezTo>
                  <a:cubicBezTo>
                    <a:pt x="962" y="108"/>
                    <a:pt x="960" y="104"/>
                    <a:pt x="958" y="107"/>
                  </a:cubicBezTo>
                  <a:cubicBezTo>
                    <a:pt x="957" y="107"/>
                    <a:pt x="957" y="105"/>
                    <a:pt x="957" y="103"/>
                  </a:cubicBezTo>
                  <a:cubicBezTo>
                    <a:pt x="955" y="103"/>
                    <a:pt x="952" y="103"/>
                    <a:pt x="950" y="103"/>
                  </a:cubicBezTo>
                  <a:cubicBezTo>
                    <a:pt x="948" y="103"/>
                    <a:pt x="950" y="106"/>
                    <a:pt x="950" y="106"/>
                  </a:cubicBezTo>
                  <a:cubicBezTo>
                    <a:pt x="950" y="107"/>
                    <a:pt x="947" y="108"/>
                    <a:pt x="948" y="110"/>
                  </a:cubicBezTo>
                  <a:cubicBezTo>
                    <a:pt x="943" y="110"/>
                    <a:pt x="942" y="114"/>
                    <a:pt x="936" y="113"/>
                  </a:cubicBezTo>
                  <a:cubicBezTo>
                    <a:pt x="935" y="113"/>
                    <a:pt x="935" y="115"/>
                    <a:pt x="932" y="115"/>
                  </a:cubicBezTo>
                  <a:cubicBezTo>
                    <a:pt x="933" y="117"/>
                    <a:pt x="935" y="116"/>
                    <a:pt x="937" y="116"/>
                  </a:cubicBezTo>
                  <a:cubicBezTo>
                    <a:pt x="939" y="117"/>
                    <a:pt x="939" y="118"/>
                    <a:pt x="941" y="118"/>
                  </a:cubicBezTo>
                  <a:cubicBezTo>
                    <a:pt x="940" y="122"/>
                    <a:pt x="940" y="121"/>
                    <a:pt x="942" y="123"/>
                  </a:cubicBezTo>
                  <a:cubicBezTo>
                    <a:pt x="943" y="126"/>
                    <a:pt x="946" y="126"/>
                    <a:pt x="948" y="128"/>
                  </a:cubicBezTo>
                  <a:cubicBezTo>
                    <a:pt x="948" y="128"/>
                    <a:pt x="944" y="131"/>
                    <a:pt x="944" y="131"/>
                  </a:cubicBezTo>
                  <a:cubicBezTo>
                    <a:pt x="941" y="132"/>
                    <a:pt x="941" y="129"/>
                    <a:pt x="940" y="129"/>
                  </a:cubicBezTo>
                  <a:cubicBezTo>
                    <a:pt x="940" y="129"/>
                    <a:pt x="941" y="131"/>
                    <a:pt x="940" y="131"/>
                  </a:cubicBezTo>
                  <a:cubicBezTo>
                    <a:pt x="936" y="132"/>
                    <a:pt x="930" y="131"/>
                    <a:pt x="927" y="133"/>
                  </a:cubicBezTo>
                  <a:cubicBezTo>
                    <a:pt x="925" y="133"/>
                    <a:pt x="920" y="135"/>
                    <a:pt x="921" y="137"/>
                  </a:cubicBezTo>
                  <a:cubicBezTo>
                    <a:pt x="915" y="136"/>
                    <a:pt x="915" y="140"/>
                    <a:pt x="911" y="141"/>
                  </a:cubicBezTo>
                  <a:cubicBezTo>
                    <a:pt x="910" y="142"/>
                    <a:pt x="910" y="142"/>
                    <a:pt x="909" y="143"/>
                  </a:cubicBezTo>
                  <a:cubicBezTo>
                    <a:pt x="908" y="144"/>
                    <a:pt x="907" y="145"/>
                    <a:pt x="905" y="146"/>
                  </a:cubicBezTo>
                  <a:cubicBezTo>
                    <a:pt x="904" y="146"/>
                    <a:pt x="903" y="147"/>
                    <a:pt x="903" y="148"/>
                  </a:cubicBezTo>
                  <a:cubicBezTo>
                    <a:pt x="899" y="147"/>
                    <a:pt x="893" y="149"/>
                    <a:pt x="891" y="147"/>
                  </a:cubicBezTo>
                  <a:cubicBezTo>
                    <a:pt x="890" y="148"/>
                    <a:pt x="887" y="147"/>
                    <a:pt x="888" y="150"/>
                  </a:cubicBezTo>
                  <a:cubicBezTo>
                    <a:pt x="881" y="151"/>
                    <a:pt x="880" y="151"/>
                    <a:pt x="874" y="150"/>
                  </a:cubicBezTo>
                  <a:cubicBezTo>
                    <a:pt x="873" y="150"/>
                    <a:pt x="872" y="151"/>
                    <a:pt x="871" y="151"/>
                  </a:cubicBezTo>
                  <a:cubicBezTo>
                    <a:pt x="870" y="152"/>
                    <a:pt x="868" y="153"/>
                    <a:pt x="868" y="155"/>
                  </a:cubicBezTo>
                  <a:cubicBezTo>
                    <a:pt x="868" y="158"/>
                    <a:pt x="862" y="157"/>
                    <a:pt x="863" y="162"/>
                  </a:cubicBezTo>
                  <a:cubicBezTo>
                    <a:pt x="862" y="166"/>
                    <a:pt x="866" y="165"/>
                    <a:pt x="868" y="167"/>
                  </a:cubicBezTo>
                  <a:cubicBezTo>
                    <a:pt x="867" y="170"/>
                    <a:pt x="867" y="173"/>
                    <a:pt x="863" y="173"/>
                  </a:cubicBezTo>
                  <a:cubicBezTo>
                    <a:pt x="863" y="175"/>
                    <a:pt x="863" y="176"/>
                    <a:pt x="861" y="176"/>
                  </a:cubicBezTo>
                  <a:cubicBezTo>
                    <a:pt x="861" y="178"/>
                    <a:pt x="861" y="179"/>
                    <a:pt x="861" y="181"/>
                  </a:cubicBezTo>
                  <a:cubicBezTo>
                    <a:pt x="861" y="183"/>
                    <a:pt x="863" y="180"/>
                    <a:pt x="863" y="182"/>
                  </a:cubicBezTo>
                  <a:cubicBezTo>
                    <a:pt x="864" y="185"/>
                    <a:pt x="861" y="184"/>
                    <a:pt x="861" y="184"/>
                  </a:cubicBezTo>
                  <a:cubicBezTo>
                    <a:pt x="860" y="185"/>
                    <a:pt x="860" y="188"/>
                    <a:pt x="859" y="188"/>
                  </a:cubicBezTo>
                  <a:cubicBezTo>
                    <a:pt x="858" y="189"/>
                    <a:pt x="855" y="188"/>
                    <a:pt x="854" y="189"/>
                  </a:cubicBezTo>
                  <a:cubicBezTo>
                    <a:pt x="853" y="190"/>
                    <a:pt x="854" y="193"/>
                    <a:pt x="854" y="194"/>
                  </a:cubicBezTo>
                  <a:cubicBezTo>
                    <a:pt x="853" y="195"/>
                    <a:pt x="853" y="192"/>
                    <a:pt x="852" y="191"/>
                  </a:cubicBezTo>
                  <a:cubicBezTo>
                    <a:pt x="852" y="191"/>
                    <a:pt x="849" y="192"/>
                    <a:pt x="851" y="197"/>
                  </a:cubicBezTo>
                  <a:cubicBezTo>
                    <a:pt x="849" y="196"/>
                    <a:pt x="850" y="199"/>
                    <a:pt x="849" y="200"/>
                  </a:cubicBezTo>
                  <a:cubicBezTo>
                    <a:pt x="848" y="200"/>
                    <a:pt x="847" y="199"/>
                    <a:pt x="846" y="200"/>
                  </a:cubicBezTo>
                  <a:cubicBezTo>
                    <a:pt x="846" y="200"/>
                    <a:pt x="846" y="203"/>
                    <a:pt x="844" y="202"/>
                  </a:cubicBezTo>
                  <a:cubicBezTo>
                    <a:pt x="844" y="204"/>
                    <a:pt x="843" y="205"/>
                    <a:pt x="843" y="207"/>
                  </a:cubicBezTo>
                  <a:cubicBezTo>
                    <a:pt x="841" y="207"/>
                    <a:pt x="838" y="206"/>
                    <a:pt x="838" y="208"/>
                  </a:cubicBezTo>
                  <a:cubicBezTo>
                    <a:pt x="837" y="207"/>
                    <a:pt x="839" y="206"/>
                    <a:pt x="838" y="204"/>
                  </a:cubicBezTo>
                  <a:cubicBezTo>
                    <a:pt x="838" y="205"/>
                    <a:pt x="837" y="204"/>
                    <a:pt x="837" y="203"/>
                  </a:cubicBezTo>
                  <a:cubicBezTo>
                    <a:pt x="837" y="203"/>
                    <a:pt x="837" y="202"/>
                    <a:pt x="837" y="201"/>
                  </a:cubicBezTo>
                  <a:cubicBezTo>
                    <a:pt x="836" y="200"/>
                    <a:pt x="835" y="199"/>
                    <a:pt x="835" y="199"/>
                  </a:cubicBezTo>
                  <a:cubicBezTo>
                    <a:pt x="834" y="198"/>
                    <a:pt x="834" y="197"/>
                    <a:pt x="832" y="197"/>
                  </a:cubicBezTo>
                  <a:cubicBezTo>
                    <a:pt x="834" y="196"/>
                    <a:pt x="834" y="193"/>
                    <a:pt x="834" y="190"/>
                  </a:cubicBezTo>
                  <a:cubicBezTo>
                    <a:pt x="834" y="188"/>
                    <a:pt x="833" y="188"/>
                    <a:pt x="832" y="187"/>
                  </a:cubicBezTo>
                  <a:cubicBezTo>
                    <a:pt x="832" y="182"/>
                    <a:pt x="833" y="177"/>
                    <a:pt x="832" y="174"/>
                  </a:cubicBezTo>
                  <a:cubicBezTo>
                    <a:pt x="837" y="177"/>
                    <a:pt x="833" y="172"/>
                    <a:pt x="835" y="169"/>
                  </a:cubicBezTo>
                  <a:cubicBezTo>
                    <a:pt x="835" y="169"/>
                    <a:pt x="836" y="173"/>
                    <a:pt x="837" y="170"/>
                  </a:cubicBezTo>
                  <a:cubicBezTo>
                    <a:pt x="837" y="170"/>
                    <a:pt x="837" y="168"/>
                    <a:pt x="837" y="168"/>
                  </a:cubicBezTo>
                  <a:cubicBezTo>
                    <a:pt x="838" y="166"/>
                    <a:pt x="843" y="163"/>
                    <a:pt x="844" y="162"/>
                  </a:cubicBezTo>
                  <a:cubicBezTo>
                    <a:pt x="844" y="162"/>
                    <a:pt x="846" y="162"/>
                    <a:pt x="845" y="161"/>
                  </a:cubicBezTo>
                  <a:cubicBezTo>
                    <a:pt x="844" y="159"/>
                    <a:pt x="846" y="160"/>
                    <a:pt x="848" y="160"/>
                  </a:cubicBezTo>
                  <a:cubicBezTo>
                    <a:pt x="849" y="159"/>
                    <a:pt x="850" y="157"/>
                    <a:pt x="850" y="154"/>
                  </a:cubicBezTo>
                  <a:cubicBezTo>
                    <a:pt x="850" y="154"/>
                    <a:pt x="854" y="152"/>
                    <a:pt x="854" y="151"/>
                  </a:cubicBezTo>
                  <a:cubicBezTo>
                    <a:pt x="854" y="151"/>
                    <a:pt x="852" y="151"/>
                    <a:pt x="852" y="151"/>
                  </a:cubicBezTo>
                  <a:cubicBezTo>
                    <a:pt x="853" y="151"/>
                    <a:pt x="853" y="149"/>
                    <a:pt x="854" y="149"/>
                  </a:cubicBezTo>
                  <a:cubicBezTo>
                    <a:pt x="855" y="149"/>
                    <a:pt x="857" y="152"/>
                    <a:pt x="856" y="147"/>
                  </a:cubicBezTo>
                  <a:cubicBezTo>
                    <a:pt x="858" y="147"/>
                    <a:pt x="860" y="146"/>
                    <a:pt x="862" y="146"/>
                  </a:cubicBezTo>
                  <a:cubicBezTo>
                    <a:pt x="862" y="145"/>
                    <a:pt x="863" y="143"/>
                    <a:pt x="863" y="143"/>
                  </a:cubicBezTo>
                  <a:cubicBezTo>
                    <a:pt x="864" y="143"/>
                    <a:pt x="865" y="144"/>
                    <a:pt x="865" y="143"/>
                  </a:cubicBezTo>
                  <a:cubicBezTo>
                    <a:pt x="866" y="143"/>
                    <a:pt x="867" y="142"/>
                    <a:pt x="868" y="141"/>
                  </a:cubicBezTo>
                  <a:cubicBezTo>
                    <a:pt x="868" y="140"/>
                    <a:pt x="869" y="141"/>
                    <a:pt x="869" y="140"/>
                  </a:cubicBezTo>
                  <a:cubicBezTo>
                    <a:pt x="869" y="138"/>
                    <a:pt x="870" y="135"/>
                    <a:pt x="872" y="137"/>
                  </a:cubicBezTo>
                  <a:cubicBezTo>
                    <a:pt x="872" y="135"/>
                    <a:pt x="872" y="133"/>
                    <a:pt x="872" y="131"/>
                  </a:cubicBezTo>
                  <a:cubicBezTo>
                    <a:pt x="870" y="131"/>
                    <a:pt x="868" y="132"/>
                    <a:pt x="867" y="133"/>
                  </a:cubicBezTo>
                  <a:cubicBezTo>
                    <a:pt x="866" y="133"/>
                    <a:pt x="865" y="134"/>
                    <a:pt x="864" y="135"/>
                  </a:cubicBezTo>
                  <a:cubicBezTo>
                    <a:pt x="864" y="136"/>
                    <a:pt x="863" y="135"/>
                    <a:pt x="863" y="136"/>
                  </a:cubicBezTo>
                  <a:cubicBezTo>
                    <a:pt x="863" y="138"/>
                    <a:pt x="858" y="138"/>
                    <a:pt x="858" y="141"/>
                  </a:cubicBezTo>
                  <a:cubicBezTo>
                    <a:pt x="856" y="140"/>
                    <a:pt x="855" y="141"/>
                    <a:pt x="855" y="143"/>
                  </a:cubicBezTo>
                  <a:cubicBezTo>
                    <a:pt x="853" y="144"/>
                    <a:pt x="854" y="141"/>
                    <a:pt x="854" y="141"/>
                  </a:cubicBezTo>
                  <a:cubicBezTo>
                    <a:pt x="853" y="141"/>
                    <a:pt x="851" y="141"/>
                    <a:pt x="851" y="141"/>
                  </a:cubicBezTo>
                  <a:cubicBezTo>
                    <a:pt x="851" y="140"/>
                    <a:pt x="852" y="138"/>
                    <a:pt x="851" y="137"/>
                  </a:cubicBezTo>
                  <a:cubicBezTo>
                    <a:pt x="846" y="138"/>
                    <a:pt x="843" y="136"/>
                    <a:pt x="839" y="137"/>
                  </a:cubicBezTo>
                  <a:cubicBezTo>
                    <a:pt x="838" y="138"/>
                    <a:pt x="839" y="139"/>
                    <a:pt x="838" y="140"/>
                  </a:cubicBezTo>
                  <a:cubicBezTo>
                    <a:pt x="837" y="141"/>
                    <a:pt x="835" y="140"/>
                    <a:pt x="834" y="141"/>
                  </a:cubicBezTo>
                  <a:cubicBezTo>
                    <a:pt x="832" y="142"/>
                    <a:pt x="831" y="143"/>
                    <a:pt x="830" y="144"/>
                  </a:cubicBezTo>
                  <a:cubicBezTo>
                    <a:pt x="829" y="145"/>
                    <a:pt x="829" y="147"/>
                    <a:pt x="826" y="147"/>
                  </a:cubicBezTo>
                  <a:cubicBezTo>
                    <a:pt x="826" y="150"/>
                    <a:pt x="828" y="150"/>
                    <a:pt x="828" y="153"/>
                  </a:cubicBezTo>
                  <a:cubicBezTo>
                    <a:pt x="826" y="153"/>
                    <a:pt x="825" y="154"/>
                    <a:pt x="825" y="156"/>
                  </a:cubicBezTo>
                  <a:cubicBezTo>
                    <a:pt x="820" y="155"/>
                    <a:pt x="819" y="158"/>
                    <a:pt x="815" y="157"/>
                  </a:cubicBezTo>
                  <a:cubicBezTo>
                    <a:pt x="813" y="156"/>
                    <a:pt x="814" y="155"/>
                    <a:pt x="815" y="154"/>
                  </a:cubicBezTo>
                  <a:cubicBezTo>
                    <a:pt x="813" y="154"/>
                    <a:pt x="812" y="153"/>
                    <a:pt x="812" y="151"/>
                  </a:cubicBezTo>
                  <a:cubicBezTo>
                    <a:pt x="810" y="151"/>
                    <a:pt x="808" y="152"/>
                    <a:pt x="808" y="150"/>
                  </a:cubicBezTo>
                  <a:cubicBezTo>
                    <a:pt x="802" y="153"/>
                    <a:pt x="795" y="155"/>
                    <a:pt x="788" y="156"/>
                  </a:cubicBezTo>
                  <a:cubicBezTo>
                    <a:pt x="787" y="154"/>
                    <a:pt x="784" y="155"/>
                    <a:pt x="785" y="151"/>
                  </a:cubicBezTo>
                  <a:cubicBezTo>
                    <a:pt x="784" y="151"/>
                    <a:pt x="782" y="151"/>
                    <a:pt x="781" y="151"/>
                  </a:cubicBezTo>
                  <a:cubicBezTo>
                    <a:pt x="776" y="153"/>
                    <a:pt x="772" y="154"/>
                    <a:pt x="768" y="156"/>
                  </a:cubicBezTo>
                  <a:cubicBezTo>
                    <a:pt x="764" y="158"/>
                    <a:pt x="762" y="161"/>
                    <a:pt x="758" y="162"/>
                  </a:cubicBezTo>
                  <a:cubicBezTo>
                    <a:pt x="759" y="164"/>
                    <a:pt x="758" y="166"/>
                    <a:pt x="756" y="166"/>
                  </a:cubicBezTo>
                  <a:cubicBezTo>
                    <a:pt x="757" y="169"/>
                    <a:pt x="754" y="169"/>
                    <a:pt x="755" y="171"/>
                  </a:cubicBezTo>
                  <a:cubicBezTo>
                    <a:pt x="752" y="169"/>
                    <a:pt x="750" y="176"/>
                    <a:pt x="749" y="175"/>
                  </a:cubicBezTo>
                  <a:cubicBezTo>
                    <a:pt x="746" y="173"/>
                    <a:pt x="748" y="176"/>
                    <a:pt x="745" y="176"/>
                  </a:cubicBezTo>
                  <a:cubicBezTo>
                    <a:pt x="743" y="176"/>
                    <a:pt x="743" y="177"/>
                    <a:pt x="743" y="179"/>
                  </a:cubicBezTo>
                  <a:cubicBezTo>
                    <a:pt x="737" y="177"/>
                    <a:pt x="739" y="183"/>
                    <a:pt x="735" y="182"/>
                  </a:cubicBezTo>
                  <a:cubicBezTo>
                    <a:pt x="735" y="183"/>
                    <a:pt x="739" y="188"/>
                    <a:pt x="739" y="186"/>
                  </a:cubicBezTo>
                  <a:cubicBezTo>
                    <a:pt x="741" y="186"/>
                    <a:pt x="740" y="189"/>
                    <a:pt x="741" y="190"/>
                  </a:cubicBezTo>
                  <a:cubicBezTo>
                    <a:pt x="742" y="189"/>
                    <a:pt x="744" y="191"/>
                    <a:pt x="744" y="191"/>
                  </a:cubicBezTo>
                  <a:cubicBezTo>
                    <a:pt x="745" y="192"/>
                    <a:pt x="747" y="190"/>
                    <a:pt x="749" y="190"/>
                  </a:cubicBezTo>
                  <a:cubicBezTo>
                    <a:pt x="749" y="190"/>
                    <a:pt x="751" y="191"/>
                    <a:pt x="750" y="191"/>
                  </a:cubicBezTo>
                  <a:cubicBezTo>
                    <a:pt x="752" y="191"/>
                    <a:pt x="753" y="188"/>
                    <a:pt x="753" y="190"/>
                  </a:cubicBezTo>
                  <a:cubicBezTo>
                    <a:pt x="755" y="190"/>
                    <a:pt x="754" y="189"/>
                    <a:pt x="755" y="188"/>
                  </a:cubicBezTo>
                  <a:cubicBezTo>
                    <a:pt x="757" y="188"/>
                    <a:pt x="757" y="197"/>
                    <a:pt x="759" y="193"/>
                  </a:cubicBezTo>
                  <a:cubicBezTo>
                    <a:pt x="762" y="192"/>
                    <a:pt x="759" y="198"/>
                    <a:pt x="763" y="196"/>
                  </a:cubicBezTo>
                  <a:cubicBezTo>
                    <a:pt x="763" y="198"/>
                    <a:pt x="761" y="197"/>
                    <a:pt x="761" y="197"/>
                  </a:cubicBezTo>
                  <a:cubicBezTo>
                    <a:pt x="760" y="198"/>
                    <a:pt x="762" y="200"/>
                    <a:pt x="762" y="202"/>
                  </a:cubicBezTo>
                  <a:cubicBezTo>
                    <a:pt x="762" y="202"/>
                    <a:pt x="761" y="202"/>
                    <a:pt x="761" y="203"/>
                  </a:cubicBezTo>
                  <a:cubicBezTo>
                    <a:pt x="760" y="204"/>
                    <a:pt x="760" y="205"/>
                    <a:pt x="759" y="206"/>
                  </a:cubicBezTo>
                  <a:cubicBezTo>
                    <a:pt x="759" y="209"/>
                    <a:pt x="761" y="216"/>
                    <a:pt x="757" y="213"/>
                  </a:cubicBezTo>
                  <a:cubicBezTo>
                    <a:pt x="758" y="223"/>
                    <a:pt x="753" y="228"/>
                    <a:pt x="751" y="235"/>
                  </a:cubicBezTo>
                  <a:cubicBezTo>
                    <a:pt x="750" y="236"/>
                    <a:pt x="749" y="235"/>
                    <a:pt x="748" y="235"/>
                  </a:cubicBezTo>
                  <a:cubicBezTo>
                    <a:pt x="747" y="236"/>
                    <a:pt x="748" y="238"/>
                    <a:pt x="748" y="239"/>
                  </a:cubicBezTo>
                  <a:cubicBezTo>
                    <a:pt x="747" y="240"/>
                    <a:pt x="745" y="239"/>
                    <a:pt x="744" y="240"/>
                  </a:cubicBezTo>
                  <a:cubicBezTo>
                    <a:pt x="744" y="240"/>
                    <a:pt x="744" y="242"/>
                    <a:pt x="744" y="242"/>
                  </a:cubicBezTo>
                  <a:cubicBezTo>
                    <a:pt x="744" y="242"/>
                    <a:pt x="742" y="242"/>
                    <a:pt x="742" y="242"/>
                  </a:cubicBezTo>
                  <a:cubicBezTo>
                    <a:pt x="741" y="243"/>
                    <a:pt x="743" y="244"/>
                    <a:pt x="743" y="243"/>
                  </a:cubicBezTo>
                  <a:cubicBezTo>
                    <a:pt x="742" y="245"/>
                    <a:pt x="740" y="245"/>
                    <a:pt x="739" y="246"/>
                  </a:cubicBezTo>
                  <a:cubicBezTo>
                    <a:pt x="739" y="246"/>
                    <a:pt x="739" y="248"/>
                    <a:pt x="738" y="249"/>
                  </a:cubicBezTo>
                  <a:cubicBezTo>
                    <a:pt x="737" y="250"/>
                    <a:pt x="736" y="249"/>
                    <a:pt x="735" y="250"/>
                  </a:cubicBezTo>
                  <a:cubicBezTo>
                    <a:pt x="734" y="251"/>
                    <a:pt x="734" y="253"/>
                    <a:pt x="733" y="254"/>
                  </a:cubicBezTo>
                  <a:cubicBezTo>
                    <a:pt x="733" y="254"/>
                    <a:pt x="731" y="254"/>
                    <a:pt x="731" y="254"/>
                  </a:cubicBezTo>
                  <a:cubicBezTo>
                    <a:pt x="731" y="254"/>
                    <a:pt x="731" y="257"/>
                    <a:pt x="730" y="256"/>
                  </a:cubicBezTo>
                  <a:cubicBezTo>
                    <a:pt x="729" y="255"/>
                    <a:pt x="728" y="255"/>
                    <a:pt x="728" y="259"/>
                  </a:cubicBezTo>
                  <a:cubicBezTo>
                    <a:pt x="722" y="259"/>
                    <a:pt x="722" y="259"/>
                    <a:pt x="716" y="259"/>
                  </a:cubicBezTo>
                  <a:cubicBezTo>
                    <a:pt x="716" y="259"/>
                    <a:pt x="711" y="262"/>
                    <a:pt x="713" y="262"/>
                  </a:cubicBezTo>
                  <a:cubicBezTo>
                    <a:pt x="715" y="265"/>
                    <a:pt x="705" y="262"/>
                    <a:pt x="710" y="264"/>
                  </a:cubicBezTo>
                  <a:cubicBezTo>
                    <a:pt x="710" y="266"/>
                    <a:pt x="708" y="266"/>
                    <a:pt x="708" y="264"/>
                  </a:cubicBezTo>
                  <a:cubicBezTo>
                    <a:pt x="705" y="267"/>
                    <a:pt x="706" y="270"/>
                    <a:pt x="706" y="274"/>
                  </a:cubicBezTo>
                  <a:cubicBezTo>
                    <a:pt x="703" y="275"/>
                    <a:pt x="704" y="275"/>
                    <a:pt x="700" y="274"/>
                  </a:cubicBezTo>
                  <a:cubicBezTo>
                    <a:pt x="702" y="275"/>
                    <a:pt x="702" y="276"/>
                    <a:pt x="699" y="276"/>
                  </a:cubicBezTo>
                  <a:cubicBezTo>
                    <a:pt x="699" y="279"/>
                    <a:pt x="700" y="289"/>
                    <a:pt x="702" y="286"/>
                  </a:cubicBezTo>
                  <a:cubicBezTo>
                    <a:pt x="704" y="286"/>
                    <a:pt x="702" y="295"/>
                    <a:pt x="705" y="295"/>
                  </a:cubicBezTo>
                  <a:cubicBezTo>
                    <a:pt x="708" y="295"/>
                    <a:pt x="705" y="299"/>
                    <a:pt x="708" y="300"/>
                  </a:cubicBezTo>
                  <a:cubicBezTo>
                    <a:pt x="707" y="300"/>
                    <a:pt x="707" y="302"/>
                    <a:pt x="706" y="302"/>
                  </a:cubicBezTo>
                  <a:cubicBezTo>
                    <a:pt x="705" y="303"/>
                    <a:pt x="704" y="301"/>
                    <a:pt x="704" y="301"/>
                  </a:cubicBezTo>
                  <a:cubicBezTo>
                    <a:pt x="703" y="302"/>
                    <a:pt x="704" y="303"/>
                    <a:pt x="703" y="303"/>
                  </a:cubicBezTo>
                  <a:cubicBezTo>
                    <a:pt x="702" y="304"/>
                    <a:pt x="700" y="303"/>
                    <a:pt x="699" y="303"/>
                  </a:cubicBezTo>
                  <a:cubicBezTo>
                    <a:pt x="697" y="304"/>
                    <a:pt x="693" y="307"/>
                    <a:pt x="691" y="304"/>
                  </a:cubicBezTo>
                  <a:cubicBezTo>
                    <a:pt x="691" y="302"/>
                    <a:pt x="692" y="301"/>
                    <a:pt x="692" y="300"/>
                  </a:cubicBezTo>
                  <a:cubicBezTo>
                    <a:pt x="693" y="297"/>
                    <a:pt x="691" y="294"/>
                    <a:pt x="693" y="293"/>
                  </a:cubicBezTo>
                  <a:cubicBezTo>
                    <a:pt x="693" y="291"/>
                    <a:pt x="690" y="292"/>
                    <a:pt x="691" y="288"/>
                  </a:cubicBezTo>
                  <a:cubicBezTo>
                    <a:pt x="689" y="287"/>
                    <a:pt x="686" y="289"/>
                    <a:pt x="684" y="286"/>
                  </a:cubicBezTo>
                  <a:cubicBezTo>
                    <a:pt x="683" y="282"/>
                    <a:pt x="688" y="284"/>
                    <a:pt x="686" y="280"/>
                  </a:cubicBezTo>
                  <a:cubicBezTo>
                    <a:pt x="686" y="278"/>
                    <a:pt x="685" y="279"/>
                    <a:pt x="685" y="280"/>
                  </a:cubicBezTo>
                  <a:cubicBezTo>
                    <a:pt x="684" y="280"/>
                    <a:pt x="684" y="278"/>
                    <a:pt x="683" y="277"/>
                  </a:cubicBezTo>
                  <a:cubicBezTo>
                    <a:pt x="682" y="277"/>
                    <a:pt x="681" y="276"/>
                    <a:pt x="680" y="275"/>
                  </a:cubicBezTo>
                  <a:cubicBezTo>
                    <a:pt x="680" y="276"/>
                    <a:pt x="679" y="276"/>
                    <a:pt x="677" y="276"/>
                  </a:cubicBezTo>
                  <a:cubicBezTo>
                    <a:pt x="676" y="276"/>
                    <a:pt x="676" y="277"/>
                    <a:pt x="677" y="277"/>
                  </a:cubicBezTo>
                  <a:cubicBezTo>
                    <a:pt x="677" y="281"/>
                    <a:pt x="674" y="275"/>
                    <a:pt x="675" y="280"/>
                  </a:cubicBezTo>
                  <a:cubicBezTo>
                    <a:pt x="671" y="277"/>
                    <a:pt x="672" y="282"/>
                    <a:pt x="668" y="280"/>
                  </a:cubicBezTo>
                  <a:cubicBezTo>
                    <a:pt x="671" y="277"/>
                    <a:pt x="668" y="275"/>
                    <a:pt x="671" y="273"/>
                  </a:cubicBezTo>
                  <a:cubicBezTo>
                    <a:pt x="673" y="271"/>
                    <a:pt x="665" y="272"/>
                    <a:pt x="665" y="274"/>
                  </a:cubicBezTo>
                  <a:cubicBezTo>
                    <a:pt x="665" y="277"/>
                    <a:pt x="664" y="273"/>
                    <a:pt x="664" y="273"/>
                  </a:cubicBezTo>
                  <a:cubicBezTo>
                    <a:pt x="662" y="273"/>
                    <a:pt x="663" y="276"/>
                    <a:pt x="660" y="276"/>
                  </a:cubicBezTo>
                  <a:cubicBezTo>
                    <a:pt x="660" y="276"/>
                    <a:pt x="657" y="278"/>
                    <a:pt x="657" y="279"/>
                  </a:cubicBezTo>
                  <a:cubicBezTo>
                    <a:pt x="656" y="279"/>
                    <a:pt x="656" y="280"/>
                    <a:pt x="656" y="281"/>
                  </a:cubicBezTo>
                  <a:cubicBezTo>
                    <a:pt x="651" y="280"/>
                    <a:pt x="652" y="280"/>
                    <a:pt x="648" y="281"/>
                  </a:cubicBezTo>
                  <a:cubicBezTo>
                    <a:pt x="649" y="281"/>
                    <a:pt x="648" y="284"/>
                    <a:pt x="649" y="284"/>
                  </a:cubicBezTo>
                  <a:cubicBezTo>
                    <a:pt x="650" y="285"/>
                    <a:pt x="651" y="284"/>
                    <a:pt x="652" y="284"/>
                  </a:cubicBezTo>
                  <a:cubicBezTo>
                    <a:pt x="653" y="285"/>
                    <a:pt x="652" y="286"/>
                    <a:pt x="652" y="287"/>
                  </a:cubicBezTo>
                  <a:cubicBezTo>
                    <a:pt x="653" y="287"/>
                    <a:pt x="655" y="286"/>
                    <a:pt x="656" y="287"/>
                  </a:cubicBezTo>
                  <a:cubicBezTo>
                    <a:pt x="656" y="287"/>
                    <a:pt x="655" y="289"/>
                    <a:pt x="656" y="289"/>
                  </a:cubicBezTo>
                  <a:cubicBezTo>
                    <a:pt x="657" y="290"/>
                    <a:pt x="658" y="289"/>
                    <a:pt x="659" y="290"/>
                  </a:cubicBezTo>
                  <a:cubicBezTo>
                    <a:pt x="661" y="290"/>
                    <a:pt x="660" y="288"/>
                    <a:pt x="662" y="288"/>
                  </a:cubicBezTo>
                  <a:cubicBezTo>
                    <a:pt x="666" y="288"/>
                    <a:pt x="670" y="288"/>
                    <a:pt x="670" y="293"/>
                  </a:cubicBezTo>
                  <a:cubicBezTo>
                    <a:pt x="668" y="294"/>
                    <a:pt x="666" y="294"/>
                    <a:pt x="664" y="293"/>
                  </a:cubicBezTo>
                  <a:cubicBezTo>
                    <a:pt x="663" y="294"/>
                    <a:pt x="662" y="296"/>
                    <a:pt x="663" y="299"/>
                  </a:cubicBezTo>
                  <a:cubicBezTo>
                    <a:pt x="661" y="298"/>
                    <a:pt x="660" y="300"/>
                    <a:pt x="662" y="300"/>
                  </a:cubicBezTo>
                  <a:cubicBezTo>
                    <a:pt x="661" y="301"/>
                    <a:pt x="659" y="301"/>
                    <a:pt x="657" y="301"/>
                  </a:cubicBezTo>
                  <a:cubicBezTo>
                    <a:pt x="659" y="305"/>
                    <a:pt x="663" y="307"/>
                    <a:pt x="663" y="313"/>
                  </a:cubicBezTo>
                  <a:cubicBezTo>
                    <a:pt x="666" y="309"/>
                    <a:pt x="664" y="312"/>
                    <a:pt x="666" y="314"/>
                  </a:cubicBezTo>
                  <a:cubicBezTo>
                    <a:pt x="666" y="318"/>
                    <a:pt x="667" y="324"/>
                    <a:pt x="665" y="327"/>
                  </a:cubicBezTo>
                  <a:cubicBezTo>
                    <a:pt x="667" y="330"/>
                    <a:pt x="668" y="333"/>
                    <a:pt x="668" y="339"/>
                  </a:cubicBezTo>
                  <a:cubicBezTo>
                    <a:pt x="664" y="336"/>
                    <a:pt x="666" y="344"/>
                    <a:pt x="664" y="342"/>
                  </a:cubicBezTo>
                  <a:cubicBezTo>
                    <a:pt x="662" y="341"/>
                    <a:pt x="664" y="342"/>
                    <a:pt x="663" y="343"/>
                  </a:cubicBezTo>
                  <a:cubicBezTo>
                    <a:pt x="662" y="344"/>
                    <a:pt x="659" y="344"/>
                    <a:pt x="660" y="348"/>
                  </a:cubicBezTo>
                  <a:cubicBezTo>
                    <a:pt x="657" y="347"/>
                    <a:pt x="660" y="352"/>
                    <a:pt x="656" y="350"/>
                  </a:cubicBezTo>
                  <a:cubicBezTo>
                    <a:pt x="659" y="353"/>
                    <a:pt x="651" y="355"/>
                    <a:pt x="652" y="356"/>
                  </a:cubicBezTo>
                  <a:cubicBezTo>
                    <a:pt x="654" y="358"/>
                    <a:pt x="652" y="357"/>
                    <a:pt x="650" y="359"/>
                  </a:cubicBezTo>
                  <a:cubicBezTo>
                    <a:pt x="649" y="360"/>
                    <a:pt x="650" y="361"/>
                    <a:pt x="649" y="362"/>
                  </a:cubicBezTo>
                  <a:cubicBezTo>
                    <a:pt x="648" y="363"/>
                    <a:pt x="647" y="362"/>
                    <a:pt x="646" y="362"/>
                  </a:cubicBezTo>
                  <a:cubicBezTo>
                    <a:pt x="646" y="363"/>
                    <a:pt x="647" y="364"/>
                    <a:pt x="646" y="365"/>
                  </a:cubicBezTo>
                  <a:cubicBezTo>
                    <a:pt x="645" y="366"/>
                    <a:pt x="642" y="364"/>
                    <a:pt x="643" y="367"/>
                  </a:cubicBezTo>
                  <a:cubicBezTo>
                    <a:pt x="635" y="368"/>
                    <a:pt x="636" y="368"/>
                    <a:pt x="629" y="367"/>
                  </a:cubicBezTo>
                  <a:cubicBezTo>
                    <a:pt x="627" y="367"/>
                    <a:pt x="628" y="369"/>
                    <a:pt x="628" y="370"/>
                  </a:cubicBezTo>
                  <a:cubicBezTo>
                    <a:pt x="625" y="368"/>
                    <a:pt x="621" y="373"/>
                    <a:pt x="620" y="373"/>
                  </a:cubicBezTo>
                  <a:cubicBezTo>
                    <a:pt x="618" y="371"/>
                    <a:pt x="620" y="374"/>
                    <a:pt x="616" y="374"/>
                  </a:cubicBezTo>
                  <a:cubicBezTo>
                    <a:pt x="614" y="374"/>
                    <a:pt x="617" y="376"/>
                    <a:pt x="615" y="376"/>
                  </a:cubicBezTo>
                  <a:cubicBezTo>
                    <a:pt x="612" y="379"/>
                    <a:pt x="611" y="374"/>
                    <a:pt x="607" y="374"/>
                  </a:cubicBezTo>
                  <a:cubicBezTo>
                    <a:pt x="604" y="373"/>
                    <a:pt x="603" y="375"/>
                    <a:pt x="600" y="375"/>
                  </a:cubicBezTo>
                  <a:cubicBezTo>
                    <a:pt x="599" y="376"/>
                    <a:pt x="598" y="378"/>
                    <a:pt x="598" y="380"/>
                  </a:cubicBezTo>
                  <a:cubicBezTo>
                    <a:pt x="594" y="379"/>
                    <a:pt x="594" y="382"/>
                    <a:pt x="592" y="382"/>
                  </a:cubicBezTo>
                  <a:cubicBezTo>
                    <a:pt x="591" y="385"/>
                    <a:pt x="594" y="384"/>
                    <a:pt x="595" y="387"/>
                  </a:cubicBezTo>
                  <a:cubicBezTo>
                    <a:pt x="595" y="388"/>
                    <a:pt x="595" y="389"/>
                    <a:pt x="596" y="389"/>
                  </a:cubicBezTo>
                  <a:cubicBezTo>
                    <a:pt x="597" y="389"/>
                    <a:pt x="596" y="391"/>
                    <a:pt x="597" y="392"/>
                  </a:cubicBezTo>
                  <a:cubicBezTo>
                    <a:pt x="598" y="393"/>
                    <a:pt x="599" y="392"/>
                    <a:pt x="600" y="393"/>
                  </a:cubicBezTo>
                  <a:cubicBezTo>
                    <a:pt x="601" y="393"/>
                    <a:pt x="600" y="395"/>
                    <a:pt x="600" y="395"/>
                  </a:cubicBezTo>
                  <a:cubicBezTo>
                    <a:pt x="601" y="396"/>
                    <a:pt x="602" y="395"/>
                    <a:pt x="603" y="395"/>
                  </a:cubicBezTo>
                  <a:cubicBezTo>
                    <a:pt x="604" y="396"/>
                    <a:pt x="604" y="399"/>
                    <a:pt x="605" y="401"/>
                  </a:cubicBezTo>
                  <a:cubicBezTo>
                    <a:pt x="606" y="402"/>
                    <a:pt x="609" y="405"/>
                    <a:pt x="609" y="405"/>
                  </a:cubicBezTo>
                  <a:cubicBezTo>
                    <a:pt x="609" y="406"/>
                    <a:pt x="609" y="408"/>
                    <a:pt x="609" y="409"/>
                  </a:cubicBezTo>
                  <a:cubicBezTo>
                    <a:pt x="609" y="411"/>
                    <a:pt x="610" y="412"/>
                    <a:pt x="610" y="414"/>
                  </a:cubicBezTo>
                  <a:cubicBezTo>
                    <a:pt x="610" y="416"/>
                    <a:pt x="609" y="416"/>
                    <a:pt x="609" y="418"/>
                  </a:cubicBezTo>
                  <a:cubicBezTo>
                    <a:pt x="608" y="420"/>
                    <a:pt x="609" y="422"/>
                    <a:pt x="606" y="420"/>
                  </a:cubicBezTo>
                  <a:cubicBezTo>
                    <a:pt x="608" y="424"/>
                    <a:pt x="603" y="422"/>
                    <a:pt x="604" y="426"/>
                  </a:cubicBezTo>
                  <a:cubicBezTo>
                    <a:pt x="599" y="424"/>
                    <a:pt x="600" y="428"/>
                    <a:pt x="597" y="428"/>
                  </a:cubicBezTo>
                  <a:cubicBezTo>
                    <a:pt x="595" y="428"/>
                    <a:pt x="596" y="430"/>
                    <a:pt x="596" y="430"/>
                  </a:cubicBezTo>
                  <a:cubicBezTo>
                    <a:pt x="596" y="431"/>
                    <a:pt x="592" y="431"/>
                    <a:pt x="593" y="432"/>
                  </a:cubicBezTo>
                  <a:cubicBezTo>
                    <a:pt x="594" y="433"/>
                    <a:pt x="594" y="432"/>
                    <a:pt x="593" y="433"/>
                  </a:cubicBezTo>
                  <a:cubicBezTo>
                    <a:pt x="592" y="434"/>
                    <a:pt x="592" y="435"/>
                    <a:pt x="590" y="435"/>
                  </a:cubicBezTo>
                  <a:cubicBezTo>
                    <a:pt x="591" y="429"/>
                    <a:pt x="588" y="434"/>
                    <a:pt x="587" y="432"/>
                  </a:cubicBezTo>
                  <a:cubicBezTo>
                    <a:pt x="587" y="431"/>
                    <a:pt x="587" y="428"/>
                    <a:pt x="585" y="427"/>
                  </a:cubicBezTo>
                  <a:cubicBezTo>
                    <a:pt x="585" y="427"/>
                    <a:pt x="583" y="427"/>
                    <a:pt x="583" y="427"/>
                  </a:cubicBezTo>
                  <a:cubicBezTo>
                    <a:pt x="582" y="427"/>
                    <a:pt x="583" y="425"/>
                    <a:pt x="583" y="425"/>
                  </a:cubicBezTo>
                  <a:cubicBezTo>
                    <a:pt x="582" y="424"/>
                    <a:pt x="579" y="424"/>
                    <a:pt x="578" y="423"/>
                  </a:cubicBezTo>
                  <a:cubicBezTo>
                    <a:pt x="578" y="423"/>
                    <a:pt x="578" y="421"/>
                    <a:pt x="578" y="421"/>
                  </a:cubicBezTo>
                  <a:cubicBezTo>
                    <a:pt x="577" y="421"/>
                    <a:pt x="575" y="421"/>
                    <a:pt x="575" y="421"/>
                  </a:cubicBezTo>
                  <a:cubicBezTo>
                    <a:pt x="573" y="421"/>
                    <a:pt x="574" y="418"/>
                    <a:pt x="573" y="418"/>
                  </a:cubicBezTo>
                  <a:cubicBezTo>
                    <a:pt x="573" y="417"/>
                    <a:pt x="572" y="418"/>
                    <a:pt x="572" y="419"/>
                  </a:cubicBezTo>
                  <a:cubicBezTo>
                    <a:pt x="570" y="416"/>
                    <a:pt x="571" y="416"/>
                    <a:pt x="569" y="414"/>
                  </a:cubicBezTo>
                  <a:cubicBezTo>
                    <a:pt x="565" y="413"/>
                    <a:pt x="566" y="418"/>
                    <a:pt x="565" y="420"/>
                  </a:cubicBezTo>
                  <a:cubicBezTo>
                    <a:pt x="565" y="420"/>
                    <a:pt x="563" y="421"/>
                    <a:pt x="563" y="421"/>
                  </a:cubicBezTo>
                  <a:cubicBezTo>
                    <a:pt x="562" y="423"/>
                    <a:pt x="564" y="427"/>
                    <a:pt x="562" y="428"/>
                  </a:cubicBezTo>
                  <a:cubicBezTo>
                    <a:pt x="562" y="429"/>
                    <a:pt x="563" y="430"/>
                    <a:pt x="563" y="432"/>
                  </a:cubicBezTo>
                  <a:cubicBezTo>
                    <a:pt x="563" y="433"/>
                    <a:pt x="565" y="435"/>
                    <a:pt x="565" y="433"/>
                  </a:cubicBezTo>
                  <a:cubicBezTo>
                    <a:pt x="568" y="436"/>
                    <a:pt x="567" y="437"/>
                    <a:pt x="566" y="441"/>
                  </a:cubicBezTo>
                  <a:cubicBezTo>
                    <a:pt x="567" y="442"/>
                    <a:pt x="567" y="442"/>
                    <a:pt x="567" y="443"/>
                  </a:cubicBezTo>
                  <a:cubicBezTo>
                    <a:pt x="568" y="444"/>
                    <a:pt x="569" y="445"/>
                    <a:pt x="570" y="446"/>
                  </a:cubicBezTo>
                  <a:cubicBezTo>
                    <a:pt x="572" y="447"/>
                    <a:pt x="573" y="448"/>
                    <a:pt x="576" y="449"/>
                  </a:cubicBezTo>
                  <a:cubicBezTo>
                    <a:pt x="576" y="450"/>
                    <a:pt x="576" y="450"/>
                    <a:pt x="577" y="450"/>
                  </a:cubicBezTo>
                  <a:cubicBezTo>
                    <a:pt x="578" y="451"/>
                    <a:pt x="578" y="452"/>
                    <a:pt x="578" y="453"/>
                  </a:cubicBezTo>
                  <a:cubicBezTo>
                    <a:pt x="578" y="454"/>
                    <a:pt x="580" y="453"/>
                    <a:pt x="580" y="454"/>
                  </a:cubicBezTo>
                  <a:cubicBezTo>
                    <a:pt x="581" y="455"/>
                    <a:pt x="580" y="457"/>
                    <a:pt x="580" y="459"/>
                  </a:cubicBezTo>
                  <a:cubicBezTo>
                    <a:pt x="581" y="459"/>
                    <a:pt x="583" y="461"/>
                    <a:pt x="583" y="461"/>
                  </a:cubicBezTo>
                  <a:cubicBezTo>
                    <a:pt x="583" y="462"/>
                    <a:pt x="580" y="465"/>
                    <a:pt x="584" y="466"/>
                  </a:cubicBezTo>
                  <a:cubicBezTo>
                    <a:pt x="583" y="468"/>
                    <a:pt x="581" y="467"/>
                    <a:pt x="579" y="467"/>
                  </a:cubicBezTo>
                  <a:cubicBezTo>
                    <a:pt x="578" y="467"/>
                    <a:pt x="574" y="467"/>
                    <a:pt x="573" y="466"/>
                  </a:cubicBezTo>
                  <a:cubicBezTo>
                    <a:pt x="574" y="466"/>
                    <a:pt x="575" y="461"/>
                    <a:pt x="572" y="465"/>
                  </a:cubicBezTo>
                  <a:cubicBezTo>
                    <a:pt x="570" y="463"/>
                    <a:pt x="571" y="460"/>
                    <a:pt x="570" y="459"/>
                  </a:cubicBezTo>
                  <a:cubicBezTo>
                    <a:pt x="569" y="457"/>
                    <a:pt x="568" y="457"/>
                    <a:pt x="566" y="455"/>
                  </a:cubicBezTo>
                  <a:cubicBezTo>
                    <a:pt x="566" y="454"/>
                    <a:pt x="566" y="452"/>
                    <a:pt x="567" y="452"/>
                  </a:cubicBezTo>
                  <a:cubicBezTo>
                    <a:pt x="565" y="449"/>
                    <a:pt x="565" y="446"/>
                    <a:pt x="562" y="445"/>
                  </a:cubicBezTo>
                  <a:cubicBezTo>
                    <a:pt x="562" y="443"/>
                    <a:pt x="560" y="442"/>
                    <a:pt x="562" y="441"/>
                  </a:cubicBezTo>
                  <a:cubicBezTo>
                    <a:pt x="561" y="440"/>
                    <a:pt x="559" y="439"/>
                    <a:pt x="558" y="439"/>
                  </a:cubicBezTo>
                  <a:cubicBezTo>
                    <a:pt x="558" y="437"/>
                    <a:pt x="558" y="435"/>
                    <a:pt x="557" y="435"/>
                  </a:cubicBezTo>
                  <a:cubicBezTo>
                    <a:pt x="556" y="433"/>
                    <a:pt x="558" y="432"/>
                    <a:pt x="558" y="430"/>
                  </a:cubicBezTo>
                  <a:cubicBezTo>
                    <a:pt x="558" y="428"/>
                    <a:pt x="557" y="427"/>
                    <a:pt x="556" y="427"/>
                  </a:cubicBezTo>
                  <a:cubicBezTo>
                    <a:pt x="556" y="426"/>
                    <a:pt x="557" y="425"/>
                    <a:pt x="556" y="425"/>
                  </a:cubicBezTo>
                  <a:cubicBezTo>
                    <a:pt x="556" y="423"/>
                    <a:pt x="559" y="424"/>
                    <a:pt x="560" y="423"/>
                  </a:cubicBezTo>
                  <a:cubicBezTo>
                    <a:pt x="560" y="422"/>
                    <a:pt x="559" y="422"/>
                    <a:pt x="559" y="421"/>
                  </a:cubicBezTo>
                  <a:cubicBezTo>
                    <a:pt x="559" y="420"/>
                    <a:pt x="561" y="420"/>
                    <a:pt x="560" y="419"/>
                  </a:cubicBezTo>
                  <a:cubicBezTo>
                    <a:pt x="560" y="417"/>
                    <a:pt x="558" y="415"/>
                    <a:pt x="558" y="413"/>
                  </a:cubicBezTo>
                  <a:cubicBezTo>
                    <a:pt x="558" y="410"/>
                    <a:pt x="559" y="407"/>
                    <a:pt x="558" y="406"/>
                  </a:cubicBezTo>
                  <a:cubicBezTo>
                    <a:pt x="558" y="404"/>
                    <a:pt x="556" y="404"/>
                    <a:pt x="556" y="403"/>
                  </a:cubicBezTo>
                  <a:cubicBezTo>
                    <a:pt x="555" y="402"/>
                    <a:pt x="555" y="401"/>
                    <a:pt x="555" y="400"/>
                  </a:cubicBezTo>
                  <a:cubicBezTo>
                    <a:pt x="553" y="398"/>
                    <a:pt x="552" y="396"/>
                    <a:pt x="551" y="395"/>
                  </a:cubicBezTo>
                  <a:cubicBezTo>
                    <a:pt x="547" y="394"/>
                    <a:pt x="549" y="399"/>
                    <a:pt x="546" y="396"/>
                  </a:cubicBezTo>
                  <a:cubicBezTo>
                    <a:pt x="545" y="396"/>
                    <a:pt x="546" y="399"/>
                    <a:pt x="545" y="400"/>
                  </a:cubicBezTo>
                  <a:cubicBezTo>
                    <a:pt x="545" y="400"/>
                    <a:pt x="543" y="399"/>
                    <a:pt x="543" y="400"/>
                  </a:cubicBezTo>
                  <a:cubicBezTo>
                    <a:pt x="542" y="401"/>
                    <a:pt x="543" y="402"/>
                    <a:pt x="542" y="402"/>
                  </a:cubicBezTo>
                  <a:cubicBezTo>
                    <a:pt x="539" y="402"/>
                    <a:pt x="539" y="402"/>
                    <a:pt x="538" y="399"/>
                  </a:cubicBezTo>
                  <a:cubicBezTo>
                    <a:pt x="538" y="398"/>
                    <a:pt x="537" y="398"/>
                    <a:pt x="537" y="397"/>
                  </a:cubicBezTo>
                  <a:cubicBezTo>
                    <a:pt x="536" y="396"/>
                    <a:pt x="538" y="396"/>
                    <a:pt x="538" y="395"/>
                  </a:cubicBezTo>
                  <a:cubicBezTo>
                    <a:pt x="538" y="394"/>
                    <a:pt x="535" y="389"/>
                    <a:pt x="538" y="387"/>
                  </a:cubicBezTo>
                  <a:cubicBezTo>
                    <a:pt x="537" y="386"/>
                    <a:pt x="535" y="385"/>
                    <a:pt x="536" y="380"/>
                  </a:cubicBezTo>
                  <a:cubicBezTo>
                    <a:pt x="535" y="380"/>
                    <a:pt x="535" y="381"/>
                    <a:pt x="535" y="382"/>
                  </a:cubicBezTo>
                  <a:cubicBezTo>
                    <a:pt x="532" y="381"/>
                    <a:pt x="534" y="377"/>
                    <a:pt x="532" y="375"/>
                  </a:cubicBezTo>
                  <a:cubicBezTo>
                    <a:pt x="531" y="374"/>
                    <a:pt x="531" y="374"/>
                    <a:pt x="530" y="373"/>
                  </a:cubicBezTo>
                  <a:cubicBezTo>
                    <a:pt x="529" y="372"/>
                    <a:pt x="529" y="371"/>
                    <a:pt x="529" y="370"/>
                  </a:cubicBezTo>
                  <a:cubicBezTo>
                    <a:pt x="528" y="369"/>
                    <a:pt x="524" y="370"/>
                    <a:pt x="525" y="367"/>
                  </a:cubicBezTo>
                  <a:cubicBezTo>
                    <a:pt x="521" y="366"/>
                    <a:pt x="520" y="369"/>
                    <a:pt x="518" y="370"/>
                  </a:cubicBezTo>
                  <a:cubicBezTo>
                    <a:pt x="516" y="370"/>
                    <a:pt x="515" y="370"/>
                    <a:pt x="514" y="372"/>
                  </a:cubicBezTo>
                  <a:cubicBezTo>
                    <a:pt x="512" y="372"/>
                    <a:pt x="509" y="372"/>
                    <a:pt x="506" y="372"/>
                  </a:cubicBezTo>
                  <a:cubicBezTo>
                    <a:pt x="506" y="372"/>
                    <a:pt x="504" y="373"/>
                    <a:pt x="504" y="374"/>
                  </a:cubicBezTo>
                  <a:cubicBezTo>
                    <a:pt x="503" y="375"/>
                    <a:pt x="503" y="374"/>
                    <a:pt x="503" y="375"/>
                  </a:cubicBezTo>
                  <a:cubicBezTo>
                    <a:pt x="503" y="376"/>
                    <a:pt x="500" y="377"/>
                    <a:pt x="499" y="377"/>
                  </a:cubicBezTo>
                  <a:cubicBezTo>
                    <a:pt x="497" y="380"/>
                    <a:pt x="494" y="384"/>
                    <a:pt x="490" y="386"/>
                  </a:cubicBezTo>
                  <a:cubicBezTo>
                    <a:pt x="487" y="388"/>
                    <a:pt x="486" y="392"/>
                    <a:pt x="482" y="393"/>
                  </a:cubicBezTo>
                  <a:cubicBezTo>
                    <a:pt x="483" y="395"/>
                    <a:pt x="483" y="395"/>
                    <a:pt x="479" y="395"/>
                  </a:cubicBezTo>
                  <a:cubicBezTo>
                    <a:pt x="479" y="397"/>
                    <a:pt x="479" y="397"/>
                    <a:pt x="480" y="397"/>
                  </a:cubicBezTo>
                  <a:cubicBezTo>
                    <a:pt x="480" y="399"/>
                    <a:pt x="478" y="399"/>
                    <a:pt x="478" y="397"/>
                  </a:cubicBezTo>
                  <a:cubicBezTo>
                    <a:pt x="476" y="398"/>
                    <a:pt x="477" y="401"/>
                    <a:pt x="473" y="400"/>
                  </a:cubicBezTo>
                  <a:cubicBezTo>
                    <a:pt x="472" y="401"/>
                    <a:pt x="472" y="403"/>
                    <a:pt x="470" y="402"/>
                  </a:cubicBezTo>
                  <a:cubicBezTo>
                    <a:pt x="469" y="404"/>
                    <a:pt x="471" y="404"/>
                    <a:pt x="471" y="406"/>
                  </a:cubicBezTo>
                  <a:cubicBezTo>
                    <a:pt x="471" y="408"/>
                    <a:pt x="469" y="411"/>
                    <a:pt x="469" y="415"/>
                  </a:cubicBezTo>
                  <a:cubicBezTo>
                    <a:pt x="468" y="420"/>
                    <a:pt x="468" y="426"/>
                    <a:pt x="467" y="428"/>
                  </a:cubicBezTo>
                  <a:cubicBezTo>
                    <a:pt x="467" y="428"/>
                    <a:pt x="465" y="428"/>
                    <a:pt x="465" y="428"/>
                  </a:cubicBezTo>
                  <a:cubicBezTo>
                    <a:pt x="464" y="429"/>
                    <a:pt x="465" y="432"/>
                    <a:pt x="464" y="433"/>
                  </a:cubicBezTo>
                  <a:cubicBezTo>
                    <a:pt x="463" y="434"/>
                    <a:pt x="461" y="433"/>
                    <a:pt x="459" y="434"/>
                  </a:cubicBezTo>
                  <a:cubicBezTo>
                    <a:pt x="458" y="435"/>
                    <a:pt x="458" y="437"/>
                    <a:pt x="456" y="436"/>
                  </a:cubicBezTo>
                  <a:cubicBezTo>
                    <a:pt x="453" y="433"/>
                    <a:pt x="451" y="429"/>
                    <a:pt x="450" y="425"/>
                  </a:cubicBezTo>
                  <a:cubicBezTo>
                    <a:pt x="449" y="424"/>
                    <a:pt x="448" y="423"/>
                    <a:pt x="447" y="422"/>
                  </a:cubicBezTo>
                  <a:cubicBezTo>
                    <a:pt x="447" y="422"/>
                    <a:pt x="446" y="421"/>
                    <a:pt x="445" y="421"/>
                  </a:cubicBezTo>
                  <a:cubicBezTo>
                    <a:pt x="444" y="417"/>
                    <a:pt x="447" y="417"/>
                    <a:pt x="447" y="415"/>
                  </a:cubicBezTo>
                  <a:cubicBezTo>
                    <a:pt x="447" y="413"/>
                    <a:pt x="445" y="412"/>
                    <a:pt x="444" y="410"/>
                  </a:cubicBezTo>
                  <a:cubicBezTo>
                    <a:pt x="443" y="409"/>
                    <a:pt x="442" y="407"/>
                    <a:pt x="440" y="407"/>
                  </a:cubicBezTo>
                  <a:cubicBezTo>
                    <a:pt x="440" y="405"/>
                    <a:pt x="439" y="402"/>
                    <a:pt x="438" y="400"/>
                  </a:cubicBezTo>
                  <a:cubicBezTo>
                    <a:pt x="437" y="398"/>
                    <a:pt x="436" y="389"/>
                    <a:pt x="436" y="383"/>
                  </a:cubicBezTo>
                  <a:cubicBezTo>
                    <a:pt x="435" y="380"/>
                    <a:pt x="434" y="374"/>
                    <a:pt x="433" y="369"/>
                  </a:cubicBezTo>
                  <a:cubicBezTo>
                    <a:pt x="432" y="370"/>
                    <a:pt x="428" y="374"/>
                    <a:pt x="431" y="375"/>
                  </a:cubicBezTo>
                  <a:cubicBezTo>
                    <a:pt x="431" y="378"/>
                    <a:pt x="426" y="375"/>
                    <a:pt x="425" y="375"/>
                  </a:cubicBezTo>
                  <a:cubicBezTo>
                    <a:pt x="424" y="375"/>
                    <a:pt x="423" y="375"/>
                    <a:pt x="423" y="375"/>
                  </a:cubicBezTo>
                  <a:cubicBezTo>
                    <a:pt x="421" y="374"/>
                    <a:pt x="420" y="370"/>
                    <a:pt x="418" y="372"/>
                  </a:cubicBezTo>
                  <a:cubicBezTo>
                    <a:pt x="418" y="370"/>
                    <a:pt x="419" y="369"/>
                    <a:pt x="420" y="369"/>
                  </a:cubicBezTo>
                  <a:cubicBezTo>
                    <a:pt x="419" y="368"/>
                    <a:pt x="420" y="367"/>
                    <a:pt x="420" y="366"/>
                  </a:cubicBezTo>
                  <a:cubicBezTo>
                    <a:pt x="420" y="364"/>
                    <a:pt x="417" y="365"/>
                    <a:pt x="416" y="365"/>
                  </a:cubicBezTo>
                  <a:cubicBezTo>
                    <a:pt x="414" y="364"/>
                    <a:pt x="413" y="359"/>
                    <a:pt x="412" y="362"/>
                  </a:cubicBezTo>
                  <a:cubicBezTo>
                    <a:pt x="409" y="362"/>
                    <a:pt x="411" y="358"/>
                    <a:pt x="411" y="359"/>
                  </a:cubicBezTo>
                  <a:cubicBezTo>
                    <a:pt x="410" y="357"/>
                    <a:pt x="408" y="357"/>
                    <a:pt x="409" y="355"/>
                  </a:cubicBezTo>
                  <a:cubicBezTo>
                    <a:pt x="408" y="355"/>
                    <a:pt x="405" y="356"/>
                    <a:pt x="404" y="355"/>
                  </a:cubicBezTo>
                  <a:cubicBezTo>
                    <a:pt x="404" y="355"/>
                    <a:pt x="404" y="353"/>
                    <a:pt x="404" y="353"/>
                  </a:cubicBezTo>
                  <a:cubicBezTo>
                    <a:pt x="401" y="352"/>
                    <a:pt x="399" y="354"/>
                    <a:pt x="397" y="354"/>
                  </a:cubicBezTo>
                  <a:cubicBezTo>
                    <a:pt x="396" y="354"/>
                    <a:pt x="395" y="354"/>
                    <a:pt x="394" y="354"/>
                  </a:cubicBezTo>
                  <a:cubicBezTo>
                    <a:pt x="393" y="354"/>
                    <a:pt x="392" y="352"/>
                    <a:pt x="392" y="355"/>
                  </a:cubicBezTo>
                  <a:cubicBezTo>
                    <a:pt x="381" y="356"/>
                    <a:pt x="372" y="354"/>
                    <a:pt x="364" y="353"/>
                  </a:cubicBezTo>
                  <a:cubicBezTo>
                    <a:pt x="364" y="350"/>
                    <a:pt x="362" y="351"/>
                    <a:pt x="361" y="349"/>
                  </a:cubicBezTo>
                  <a:cubicBezTo>
                    <a:pt x="361" y="347"/>
                    <a:pt x="356" y="351"/>
                    <a:pt x="359" y="347"/>
                  </a:cubicBezTo>
                  <a:cubicBezTo>
                    <a:pt x="358" y="347"/>
                    <a:pt x="357" y="347"/>
                    <a:pt x="357" y="346"/>
                  </a:cubicBezTo>
                  <a:cubicBezTo>
                    <a:pt x="354" y="347"/>
                    <a:pt x="345" y="345"/>
                    <a:pt x="341" y="345"/>
                  </a:cubicBezTo>
                  <a:cubicBezTo>
                    <a:pt x="340" y="344"/>
                    <a:pt x="339" y="344"/>
                    <a:pt x="339" y="342"/>
                  </a:cubicBezTo>
                  <a:cubicBezTo>
                    <a:pt x="334" y="343"/>
                    <a:pt x="335" y="338"/>
                    <a:pt x="331" y="339"/>
                  </a:cubicBezTo>
                  <a:cubicBezTo>
                    <a:pt x="330" y="334"/>
                    <a:pt x="328" y="332"/>
                    <a:pt x="326" y="328"/>
                  </a:cubicBezTo>
                  <a:cubicBezTo>
                    <a:pt x="316" y="326"/>
                    <a:pt x="316" y="332"/>
                    <a:pt x="317" y="337"/>
                  </a:cubicBezTo>
                  <a:cubicBezTo>
                    <a:pt x="317" y="339"/>
                    <a:pt x="321" y="341"/>
                    <a:pt x="325" y="346"/>
                  </a:cubicBezTo>
                  <a:cubicBezTo>
                    <a:pt x="326" y="347"/>
                    <a:pt x="328" y="353"/>
                    <a:pt x="331" y="352"/>
                  </a:cubicBezTo>
                  <a:cubicBezTo>
                    <a:pt x="330" y="354"/>
                    <a:pt x="333" y="354"/>
                    <a:pt x="332" y="357"/>
                  </a:cubicBezTo>
                  <a:cubicBezTo>
                    <a:pt x="335" y="358"/>
                    <a:pt x="341" y="356"/>
                    <a:pt x="338" y="360"/>
                  </a:cubicBezTo>
                  <a:cubicBezTo>
                    <a:pt x="340" y="361"/>
                    <a:pt x="339" y="358"/>
                    <a:pt x="340" y="357"/>
                  </a:cubicBezTo>
                  <a:cubicBezTo>
                    <a:pt x="341" y="357"/>
                    <a:pt x="345" y="357"/>
                    <a:pt x="345" y="355"/>
                  </a:cubicBezTo>
                  <a:cubicBezTo>
                    <a:pt x="345" y="354"/>
                    <a:pt x="346" y="354"/>
                    <a:pt x="347" y="354"/>
                  </a:cubicBezTo>
                  <a:cubicBezTo>
                    <a:pt x="349" y="354"/>
                    <a:pt x="348" y="352"/>
                    <a:pt x="348" y="352"/>
                  </a:cubicBezTo>
                  <a:cubicBezTo>
                    <a:pt x="350" y="351"/>
                    <a:pt x="353" y="351"/>
                    <a:pt x="356" y="350"/>
                  </a:cubicBezTo>
                  <a:cubicBezTo>
                    <a:pt x="356" y="351"/>
                    <a:pt x="354" y="352"/>
                    <a:pt x="354" y="353"/>
                  </a:cubicBezTo>
                  <a:cubicBezTo>
                    <a:pt x="355" y="353"/>
                    <a:pt x="357" y="352"/>
                    <a:pt x="357" y="353"/>
                  </a:cubicBezTo>
                  <a:cubicBezTo>
                    <a:pt x="358" y="355"/>
                    <a:pt x="357" y="356"/>
                    <a:pt x="358" y="357"/>
                  </a:cubicBezTo>
                  <a:cubicBezTo>
                    <a:pt x="357" y="360"/>
                    <a:pt x="361" y="359"/>
                    <a:pt x="361" y="361"/>
                  </a:cubicBezTo>
                  <a:cubicBezTo>
                    <a:pt x="362" y="364"/>
                    <a:pt x="364" y="362"/>
                    <a:pt x="366" y="363"/>
                  </a:cubicBezTo>
                  <a:cubicBezTo>
                    <a:pt x="368" y="365"/>
                    <a:pt x="367" y="366"/>
                    <a:pt x="370" y="367"/>
                  </a:cubicBezTo>
                  <a:cubicBezTo>
                    <a:pt x="367" y="370"/>
                    <a:pt x="370" y="373"/>
                    <a:pt x="370" y="376"/>
                  </a:cubicBezTo>
                  <a:cubicBezTo>
                    <a:pt x="368" y="376"/>
                    <a:pt x="367" y="376"/>
                    <a:pt x="366" y="376"/>
                  </a:cubicBezTo>
                  <a:cubicBezTo>
                    <a:pt x="367" y="381"/>
                    <a:pt x="363" y="380"/>
                    <a:pt x="364" y="383"/>
                  </a:cubicBezTo>
                  <a:cubicBezTo>
                    <a:pt x="361" y="383"/>
                    <a:pt x="360" y="384"/>
                    <a:pt x="360" y="386"/>
                  </a:cubicBezTo>
                  <a:cubicBezTo>
                    <a:pt x="359" y="386"/>
                    <a:pt x="357" y="386"/>
                    <a:pt x="356" y="386"/>
                  </a:cubicBezTo>
                  <a:cubicBezTo>
                    <a:pt x="354" y="386"/>
                    <a:pt x="355" y="388"/>
                    <a:pt x="354" y="389"/>
                  </a:cubicBezTo>
                  <a:cubicBezTo>
                    <a:pt x="354" y="390"/>
                    <a:pt x="352" y="389"/>
                    <a:pt x="352" y="389"/>
                  </a:cubicBezTo>
                  <a:cubicBezTo>
                    <a:pt x="351" y="390"/>
                    <a:pt x="352" y="392"/>
                    <a:pt x="352" y="393"/>
                  </a:cubicBezTo>
                  <a:cubicBezTo>
                    <a:pt x="350" y="392"/>
                    <a:pt x="348" y="393"/>
                    <a:pt x="348" y="395"/>
                  </a:cubicBezTo>
                  <a:cubicBezTo>
                    <a:pt x="346" y="395"/>
                    <a:pt x="345" y="396"/>
                    <a:pt x="344" y="396"/>
                  </a:cubicBezTo>
                  <a:cubicBezTo>
                    <a:pt x="342" y="397"/>
                    <a:pt x="342" y="398"/>
                    <a:pt x="339" y="399"/>
                  </a:cubicBezTo>
                  <a:cubicBezTo>
                    <a:pt x="338" y="399"/>
                    <a:pt x="332" y="401"/>
                    <a:pt x="332" y="405"/>
                  </a:cubicBezTo>
                  <a:cubicBezTo>
                    <a:pt x="331" y="405"/>
                    <a:pt x="329" y="404"/>
                    <a:pt x="327" y="405"/>
                  </a:cubicBezTo>
                  <a:cubicBezTo>
                    <a:pt x="326" y="405"/>
                    <a:pt x="327" y="406"/>
                    <a:pt x="326" y="407"/>
                  </a:cubicBezTo>
                  <a:cubicBezTo>
                    <a:pt x="326" y="407"/>
                    <a:pt x="324" y="407"/>
                    <a:pt x="324" y="407"/>
                  </a:cubicBezTo>
                  <a:cubicBezTo>
                    <a:pt x="324" y="407"/>
                    <a:pt x="320" y="408"/>
                    <a:pt x="320" y="408"/>
                  </a:cubicBezTo>
                  <a:cubicBezTo>
                    <a:pt x="318" y="410"/>
                    <a:pt x="309" y="409"/>
                    <a:pt x="305" y="412"/>
                  </a:cubicBezTo>
                  <a:cubicBezTo>
                    <a:pt x="301" y="412"/>
                    <a:pt x="308" y="414"/>
                    <a:pt x="303" y="414"/>
                  </a:cubicBezTo>
                  <a:cubicBezTo>
                    <a:pt x="302" y="414"/>
                    <a:pt x="301" y="414"/>
                    <a:pt x="300" y="414"/>
                  </a:cubicBezTo>
                  <a:cubicBezTo>
                    <a:pt x="299" y="414"/>
                    <a:pt x="299" y="417"/>
                    <a:pt x="297" y="416"/>
                  </a:cubicBezTo>
                  <a:cubicBezTo>
                    <a:pt x="298" y="414"/>
                    <a:pt x="295" y="415"/>
                    <a:pt x="294" y="414"/>
                  </a:cubicBezTo>
                  <a:cubicBezTo>
                    <a:pt x="293" y="413"/>
                    <a:pt x="295" y="409"/>
                    <a:pt x="292" y="409"/>
                  </a:cubicBezTo>
                  <a:cubicBezTo>
                    <a:pt x="292" y="407"/>
                    <a:pt x="293" y="407"/>
                    <a:pt x="293" y="406"/>
                  </a:cubicBezTo>
                  <a:cubicBezTo>
                    <a:pt x="292" y="405"/>
                    <a:pt x="290" y="404"/>
                    <a:pt x="292" y="403"/>
                  </a:cubicBezTo>
                  <a:cubicBezTo>
                    <a:pt x="291" y="402"/>
                    <a:pt x="290" y="401"/>
                    <a:pt x="288" y="401"/>
                  </a:cubicBezTo>
                  <a:cubicBezTo>
                    <a:pt x="290" y="398"/>
                    <a:pt x="286" y="394"/>
                    <a:pt x="288" y="394"/>
                  </a:cubicBezTo>
                  <a:cubicBezTo>
                    <a:pt x="289" y="393"/>
                    <a:pt x="287" y="393"/>
                    <a:pt x="286" y="393"/>
                  </a:cubicBezTo>
                  <a:cubicBezTo>
                    <a:pt x="285" y="392"/>
                    <a:pt x="286" y="389"/>
                    <a:pt x="286" y="389"/>
                  </a:cubicBezTo>
                  <a:cubicBezTo>
                    <a:pt x="286" y="389"/>
                    <a:pt x="284" y="387"/>
                    <a:pt x="284" y="387"/>
                  </a:cubicBezTo>
                  <a:cubicBezTo>
                    <a:pt x="283" y="386"/>
                    <a:pt x="284" y="386"/>
                    <a:pt x="283" y="386"/>
                  </a:cubicBezTo>
                  <a:cubicBezTo>
                    <a:pt x="282" y="386"/>
                    <a:pt x="281" y="382"/>
                    <a:pt x="280" y="382"/>
                  </a:cubicBezTo>
                  <a:cubicBezTo>
                    <a:pt x="280" y="382"/>
                    <a:pt x="280" y="383"/>
                    <a:pt x="280" y="383"/>
                  </a:cubicBezTo>
                  <a:cubicBezTo>
                    <a:pt x="278" y="381"/>
                    <a:pt x="278" y="378"/>
                    <a:pt x="274" y="377"/>
                  </a:cubicBezTo>
                  <a:cubicBezTo>
                    <a:pt x="277" y="373"/>
                    <a:pt x="271" y="372"/>
                    <a:pt x="272" y="366"/>
                  </a:cubicBezTo>
                  <a:cubicBezTo>
                    <a:pt x="272" y="364"/>
                    <a:pt x="270" y="365"/>
                    <a:pt x="270" y="363"/>
                  </a:cubicBezTo>
                  <a:cubicBezTo>
                    <a:pt x="269" y="361"/>
                    <a:pt x="266" y="363"/>
                    <a:pt x="265" y="361"/>
                  </a:cubicBezTo>
                  <a:cubicBezTo>
                    <a:pt x="266" y="360"/>
                    <a:pt x="266" y="359"/>
                    <a:pt x="264" y="359"/>
                  </a:cubicBezTo>
                  <a:cubicBezTo>
                    <a:pt x="265" y="357"/>
                    <a:pt x="265" y="356"/>
                    <a:pt x="264" y="353"/>
                  </a:cubicBezTo>
                  <a:cubicBezTo>
                    <a:pt x="264" y="352"/>
                    <a:pt x="264" y="351"/>
                    <a:pt x="264" y="350"/>
                  </a:cubicBezTo>
                  <a:cubicBezTo>
                    <a:pt x="264" y="350"/>
                    <a:pt x="263" y="350"/>
                    <a:pt x="263" y="350"/>
                  </a:cubicBezTo>
                  <a:cubicBezTo>
                    <a:pt x="262" y="347"/>
                    <a:pt x="265" y="348"/>
                    <a:pt x="263" y="346"/>
                  </a:cubicBezTo>
                  <a:cubicBezTo>
                    <a:pt x="261" y="344"/>
                    <a:pt x="261" y="352"/>
                    <a:pt x="260" y="346"/>
                  </a:cubicBezTo>
                  <a:cubicBezTo>
                    <a:pt x="260" y="341"/>
                    <a:pt x="256" y="338"/>
                    <a:pt x="252" y="334"/>
                  </a:cubicBezTo>
                  <a:cubicBezTo>
                    <a:pt x="249" y="336"/>
                    <a:pt x="251" y="337"/>
                    <a:pt x="250" y="341"/>
                  </a:cubicBezTo>
                  <a:cubicBezTo>
                    <a:pt x="247" y="342"/>
                    <a:pt x="248" y="339"/>
                    <a:pt x="246" y="339"/>
                  </a:cubicBezTo>
                  <a:cubicBezTo>
                    <a:pt x="244" y="339"/>
                    <a:pt x="244" y="338"/>
                    <a:pt x="243" y="337"/>
                  </a:cubicBezTo>
                  <a:cubicBezTo>
                    <a:pt x="245" y="339"/>
                    <a:pt x="243" y="345"/>
                    <a:pt x="247" y="345"/>
                  </a:cubicBezTo>
                  <a:cubicBezTo>
                    <a:pt x="246" y="347"/>
                    <a:pt x="248" y="351"/>
                    <a:pt x="250" y="355"/>
                  </a:cubicBezTo>
                  <a:cubicBezTo>
                    <a:pt x="250" y="356"/>
                    <a:pt x="249" y="357"/>
                    <a:pt x="250" y="357"/>
                  </a:cubicBezTo>
                  <a:cubicBezTo>
                    <a:pt x="251" y="359"/>
                    <a:pt x="252" y="364"/>
                    <a:pt x="253" y="367"/>
                  </a:cubicBezTo>
                  <a:cubicBezTo>
                    <a:pt x="255" y="367"/>
                    <a:pt x="256" y="367"/>
                    <a:pt x="258" y="367"/>
                  </a:cubicBezTo>
                  <a:cubicBezTo>
                    <a:pt x="257" y="368"/>
                    <a:pt x="257" y="369"/>
                    <a:pt x="257" y="370"/>
                  </a:cubicBezTo>
                  <a:cubicBezTo>
                    <a:pt x="258" y="371"/>
                    <a:pt x="259" y="370"/>
                    <a:pt x="259" y="369"/>
                  </a:cubicBezTo>
                  <a:cubicBezTo>
                    <a:pt x="261" y="371"/>
                    <a:pt x="260" y="373"/>
                    <a:pt x="261" y="375"/>
                  </a:cubicBezTo>
                  <a:cubicBezTo>
                    <a:pt x="262" y="376"/>
                    <a:pt x="263" y="376"/>
                    <a:pt x="264" y="376"/>
                  </a:cubicBezTo>
                  <a:cubicBezTo>
                    <a:pt x="264" y="377"/>
                    <a:pt x="263" y="378"/>
                    <a:pt x="264" y="379"/>
                  </a:cubicBezTo>
                  <a:cubicBezTo>
                    <a:pt x="264" y="379"/>
                    <a:pt x="265" y="379"/>
                    <a:pt x="265" y="379"/>
                  </a:cubicBezTo>
                  <a:cubicBezTo>
                    <a:pt x="265" y="380"/>
                    <a:pt x="264" y="381"/>
                    <a:pt x="264" y="381"/>
                  </a:cubicBezTo>
                  <a:cubicBezTo>
                    <a:pt x="264" y="382"/>
                    <a:pt x="265" y="382"/>
                    <a:pt x="266" y="383"/>
                  </a:cubicBezTo>
                  <a:cubicBezTo>
                    <a:pt x="266" y="384"/>
                    <a:pt x="266" y="385"/>
                    <a:pt x="266" y="386"/>
                  </a:cubicBezTo>
                  <a:cubicBezTo>
                    <a:pt x="266" y="386"/>
                    <a:pt x="267" y="386"/>
                    <a:pt x="267" y="386"/>
                  </a:cubicBezTo>
                  <a:cubicBezTo>
                    <a:pt x="268" y="387"/>
                    <a:pt x="266" y="391"/>
                    <a:pt x="270" y="390"/>
                  </a:cubicBezTo>
                  <a:cubicBezTo>
                    <a:pt x="270" y="393"/>
                    <a:pt x="269" y="395"/>
                    <a:pt x="271" y="397"/>
                  </a:cubicBezTo>
                  <a:cubicBezTo>
                    <a:pt x="271" y="398"/>
                    <a:pt x="273" y="399"/>
                    <a:pt x="273" y="400"/>
                  </a:cubicBezTo>
                  <a:cubicBezTo>
                    <a:pt x="274" y="401"/>
                    <a:pt x="274" y="402"/>
                    <a:pt x="274" y="403"/>
                  </a:cubicBezTo>
                  <a:cubicBezTo>
                    <a:pt x="275" y="404"/>
                    <a:pt x="276" y="404"/>
                    <a:pt x="277" y="405"/>
                  </a:cubicBezTo>
                  <a:cubicBezTo>
                    <a:pt x="278" y="406"/>
                    <a:pt x="276" y="408"/>
                    <a:pt x="278" y="408"/>
                  </a:cubicBezTo>
                  <a:cubicBezTo>
                    <a:pt x="279" y="408"/>
                    <a:pt x="279" y="411"/>
                    <a:pt x="279" y="413"/>
                  </a:cubicBezTo>
                  <a:cubicBezTo>
                    <a:pt x="283" y="410"/>
                    <a:pt x="283" y="415"/>
                    <a:pt x="288" y="414"/>
                  </a:cubicBezTo>
                  <a:cubicBezTo>
                    <a:pt x="289" y="417"/>
                    <a:pt x="291" y="419"/>
                    <a:pt x="291" y="422"/>
                  </a:cubicBezTo>
                  <a:cubicBezTo>
                    <a:pt x="295" y="429"/>
                    <a:pt x="309" y="427"/>
                    <a:pt x="318" y="426"/>
                  </a:cubicBezTo>
                  <a:cubicBezTo>
                    <a:pt x="319" y="426"/>
                    <a:pt x="318" y="424"/>
                    <a:pt x="319" y="423"/>
                  </a:cubicBezTo>
                  <a:cubicBezTo>
                    <a:pt x="322" y="422"/>
                    <a:pt x="327" y="426"/>
                    <a:pt x="326" y="421"/>
                  </a:cubicBezTo>
                  <a:cubicBezTo>
                    <a:pt x="329" y="422"/>
                    <a:pt x="328" y="424"/>
                    <a:pt x="327" y="427"/>
                  </a:cubicBezTo>
                  <a:cubicBezTo>
                    <a:pt x="327" y="427"/>
                    <a:pt x="326" y="428"/>
                    <a:pt x="326" y="428"/>
                  </a:cubicBezTo>
                  <a:cubicBezTo>
                    <a:pt x="326" y="430"/>
                    <a:pt x="327" y="433"/>
                    <a:pt x="326" y="435"/>
                  </a:cubicBezTo>
                  <a:cubicBezTo>
                    <a:pt x="326" y="435"/>
                    <a:pt x="324" y="435"/>
                    <a:pt x="324" y="435"/>
                  </a:cubicBezTo>
                  <a:cubicBezTo>
                    <a:pt x="324" y="436"/>
                    <a:pt x="324" y="441"/>
                    <a:pt x="323" y="442"/>
                  </a:cubicBezTo>
                  <a:cubicBezTo>
                    <a:pt x="322" y="443"/>
                    <a:pt x="319" y="444"/>
                    <a:pt x="320" y="448"/>
                  </a:cubicBezTo>
                  <a:cubicBezTo>
                    <a:pt x="317" y="448"/>
                    <a:pt x="319" y="454"/>
                    <a:pt x="314" y="454"/>
                  </a:cubicBezTo>
                  <a:cubicBezTo>
                    <a:pt x="315" y="458"/>
                    <a:pt x="313" y="458"/>
                    <a:pt x="313" y="461"/>
                  </a:cubicBezTo>
                  <a:cubicBezTo>
                    <a:pt x="309" y="460"/>
                    <a:pt x="311" y="465"/>
                    <a:pt x="307" y="465"/>
                  </a:cubicBezTo>
                  <a:cubicBezTo>
                    <a:pt x="307" y="466"/>
                    <a:pt x="307" y="467"/>
                    <a:pt x="307" y="468"/>
                  </a:cubicBezTo>
                  <a:cubicBezTo>
                    <a:pt x="306" y="468"/>
                    <a:pt x="306" y="467"/>
                    <a:pt x="305" y="467"/>
                  </a:cubicBezTo>
                  <a:cubicBezTo>
                    <a:pt x="302" y="468"/>
                    <a:pt x="304" y="470"/>
                    <a:pt x="300" y="470"/>
                  </a:cubicBezTo>
                  <a:cubicBezTo>
                    <a:pt x="300" y="470"/>
                    <a:pt x="297" y="472"/>
                    <a:pt x="297" y="472"/>
                  </a:cubicBezTo>
                  <a:cubicBezTo>
                    <a:pt x="297" y="472"/>
                    <a:pt x="297" y="473"/>
                    <a:pt x="297" y="473"/>
                  </a:cubicBezTo>
                  <a:cubicBezTo>
                    <a:pt x="295" y="474"/>
                    <a:pt x="293" y="474"/>
                    <a:pt x="292" y="475"/>
                  </a:cubicBezTo>
                  <a:cubicBezTo>
                    <a:pt x="289" y="477"/>
                    <a:pt x="288" y="481"/>
                    <a:pt x="284" y="481"/>
                  </a:cubicBezTo>
                  <a:cubicBezTo>
                    <a:pt x="285" y="484"/>
                    <a:pt x="282" y="484"/>
                    <a:pt x="283" y="487"/>
                  </a:cubicBezTo>
                  <a:cubicBezTo>
                    <a:pt x="281" y="488"/>
                    <a:pt x="281" y="487"/>
                    <a:pt x="279" y="487"/>
                  </a:cubicBezTo>
                  <a:cubicBezTo>
                    <a:pt x="280" y="488"/>
                    <a:pt x="277" y="490"/>
                    <a:pt x="278" y="491"/>
                  </a:cubicBezTo>
                  <a:cubicBezTo>
                    <a:pt x="280" y="493"/>
                    <a:pt x="277" y="491"/>
                    <a:pt x="277" y="494"/>
                  </a:cubicBezTo>
                  <a:cubicBezTo>
                    <a:pt x="277" y="496"/>
                    <a:pt x="275" y="494"/>
                    <a:pt x="274" y="495"/>
                  </a:cubicBezTo>
                  <a:cubicBezTo>
                    <a:pt x="274" y="496"/>
                    <a:pt x="274" y="497"/>
                    <a:pt x="274" y="498"/>
                  </a:cubicBezTo>
                  <a:cubicBezTo>
                    <a:pt x="274" y="499"/>
                    <a:pt x="272" y="508"/>
                    <a:pt x="272" y="511"/>
                  </a:cubicBezTo>
                  <a:cubicBezTo>
                    <a:pt x="272" y="513"/>
                    <a:pt x="273" y="513"/>
                    <a:pt x="274" y="515"/>
                  </a:cubicBezTo>
                  <a:cubicBezTo>
                    <a:pt x="275" y="519"/>
                    <a:pt x="274" y="520"/>
                    <a:pt x="274" y="522"/>
                  </a:cubicBezTo>
                  <a:cubicBezTo>
                    <a:pt x="274" y="523"/>
                    <a:pt x="275" y="527"/>
                    <a:pt x="277" y="527"/>
                  </a:cubicBezTo>
                  <a:cubicBezTo>
                    <a:pt x="280" y="527"/>
                    <a:pt x="273" y="532"/>
                    <a:pt x="279" y="533"/>
                  </a:cubicBezTo>
                  <a:cubicBezTo>
                    <a:pt x="278" y="539"/>
                    <a:pt x="280" y="543"/>
                    <a:pt x="279" y="548"/>
                  </a:cubicBezTo>
                  <a:cubicBezTo>
                    <a:pt x="278" y="551"/>
                    <a:pt x="275" y="554"/>
                    <a:pt x="275" y="558"/>
                  </a:cubicBezTo>
                  <a:cubicBezTo>
                    <a:pt x="273" y="558"/>
                    <a:pt x="269" y="561"/>
                    <a:pt x="267" y="562"/>
                  </a:cubicBezTo>
                  <a:cubicBezTo>
                    <a:pt x="267" y="563"/>
                    <a:pt x="266" y="563"/>
                    <a:pt x="267" y="564"/>
                  </a:cubicBezTo>
                  <a:cubicBezTo>
                    <a:pt x="267" y="565"/>
                    <a:pt x="265" y="564"/>
                    <a:pt x="264" y="565"/>
                  </a:cubicBezTo>
                  <a:cubicBezTo>
                    <a:pt x="263" y="565"/>
                    <a:pt x="263" y="567"/>
                    <a:pt x="263" y="567"/>
                  </a:cubicBezTo>
                  <a:cubicBezTo>
                    <a:pt x="262" y="567"/>
                    <a:pt x="260" y="565"/>
                    <a:pt x="260" y="567"/>
                  </a:cubicBezTo>
                  <a:cubicBezTo>
                    <a:pt x="260" y="568"/>
                    <a:pt x="259" y="568"/>
                    <a:pt x="258" y="568"/>
                  </a:cubicBezTo>
                  <a:cubicBezTo>
                    <a:pt x="256" y="569"/>
                    <a:pt x="256" y="572"/>
                    <a:pt x="253" y="572"/>
                  </a:cubicBezTo>
                  <a:cubicBezTo>
                    <a:pt x="252" y="578"/>
                    <a:pt x="253" y="588"/>
                    <a:pt x="254" y="598"/>
                  </a:cubicBezTo>
                  <a:cubicBezTo>
                    <a:pt x="253" y="598"/>
                    <a:pt x="252" y="599"/>
                    <a:pt x="252" y="598"/>
                  </a:cubicBezTo>
                  <a:cubicBezTo>
                    <a:pt x="251" y="597"/>
                    <a:pt x="251" y="600"/>
                    <a:pt x="251" y="600"/>
                  </a:cubicBezTo>
                  <a:cubicBezTo>
                    <a:pt x="249" y="601"/>
                    <a:pt x="247" y="599"/>
                    <a:pt x="247" y="601"/>
                  </a:cubicBezTo>
                  <a:cubicBezTo>
                    <a:pt x="247" y="603"/>
                    <a:pt x="243" y="603"/>
                    <a:pt x="241" y="605"/>
                  </a:cubicBezTo>
                  <a:cubicBezTo>
                    <a:pt x="241" y="607"/>
                    <a:pt x="241" y="609"/>
                    <a:pt x="241" y="612"/>
                  </a:cubicBezTo>
                  <a:cubicBezTo>
                    <a:pt x="239" y="612"/>
                    <a:pt x="240" y="616"/>
                    <a:pt x="239" y="618"/>
                  </a:cubicBezTo>
                  <a:cubicBezTo>
                    <a:pt x="239" y="618"/>
                    <a:pt x="237" y="618"/>
                    <a:pt x="237" y="619"/>
                  </a:cubicBezTo>
                  <a:cubicBezTo>
                    <a:pt x="236" y="621"/>
                    <a:pt x="236" y="623"/>
                    <a:pt x="234" y="625"/>
                  </a:cubicBezTo>
                  <a:cubicBezTo>
                    <a:pt x="234" y="625"/>
                    <a:pt x="235" y="627"/>
                    <a:pt x="234" y="627"/>
                  </a:cubicBezTo>
                  <a:cubicBezTo>
                    <a:pt x="234" y="627"/>
                    <a:pt x="232" y="627"/>
                    <a:pt x="232" y="627"/>
                  </a:cubicBezTo>
                  <a:cubicBezTo>
                    <a:pt x="231" y="628"/>
                    <a:pt x="232" y="630"/>
                    <a:pt x="232" y="631"/>
                  </a:cubicBezTo>
                  <a:cubicBezTo>
                    <a:pt x="232" y="631"/>
                    <a:pt x="230" y="630"/>
                    <a:pt x="230" y="631"/>
                  </a:cubicBezTo>
                  <a:cubicBezTo>
                    <a:pt x="229" y="631"/>
                    <a:pt x="230" y="633"/>
                    <a:pt x="230" y="633"/>
                  </a:cubicBezTo>
                  <a:cubicBezTo>
                    <a:pt x="229" y="633"/>
                    <a:pt x="228" y="633"/>
                    <a:pt x="227" y="633"/>
                  </a:cubicBezTo>
                  <a:cubicBezTo>
                    <a:pt x="227" y="634"/>
                    <a:pt x="225" y="636"/>
                    <a:pt x="225" y="637"/>
                  </a:cubicBezTo>
                  <a:cubicBezTo>
                    <a:pt x="225" y="638"/>
                    <a:pt x="223" y="637"/>
                    <a:pt x="222" y="638"/>
                  </a:cubicBezTo>
                  <a:cubicBezTo>
                    <a:pt x="222" y="638"/>
                    <a:pt x="223" y="640"/>
                    <a:pt x="222" y="640"/>
                  </a:cubicBezTo>
                  <a:cubicBezTo>
                    <a:pt x="222" y="640"/>
                    <a:pt x="221" y="640"/>
                    <a:pt x="220" y="640"/>
                  </a:cubicBezTo>
                  <a:cubicBezTo>
                    <a:pt x="219" y="641"/>
                    <a:pt x="219" y="642"/>
                    <a:pt x="218" y="642"/>
                  </a:cubicBezTo>
                  <a:cubicBezTo>
                    <a:pt x="217" y="643"/>
                    <a:pt x="216" y="645"/>
                    <a:pt x="215" y="645"/>
                  </a:cubicBezTo>
                  <a:cubicBezTo>
                    <a:pt x="215" y="645"/>
                    <a:pt x="212" y="646"/>
                    <a:pt x="212" y="646"/>
                  </a:cubicBezTo>
                  <a:cubicBezTo>
                    <a:pt x="211" y="645"/>
                    <a:pt x="211" y="645"/>
                    <a:pt x="210" y="646"/>
                  </a:cubicBezTo>
                  <a:cubicBezTo>
                    <a:pt x="208" y="647"/>
                    <a:pt x="207" y="647"/>
                    <a:pt x="205" y="647"/>
                  </a:cubicBezTo>
                  <a:cubicBezTo>
                    <a:pt x="204" y="647"/>
                    <a:pt x="196" y="650"/>
                    <a:pt x="194" y="647"/>
                  </a:cubicBezTo>
                  <a:cubicBezTo>
                    <a:pt x="193" y="647"/>
                    <a:pt x="194" y="649"/>
                    <a:pt x="194" y="648"/>
                  </a:cubicBezTo>
                  <a:cubicBezTo>
                    <a:pt x="192" y="651"/>
                    <a:pt x="190" y="649"/>
                    <a:pt x="186" y="649"/>
                  </a:cubicBezTo>
                  <a:cubicBezTo>
                    <a:pt x="185" y="650"/>
                    <a:pt x="185" y="651"/>
                    <a:pt x="186" y="651"/>
                  </a:cubicBezTo>
                  <a:cubicBezTo>
                    <a:pt x="185" y="652"/>
                    <a:pt x="179" y="649"/>
                    <a:pt x="175" y="649"/>
                  </a:cubicBezTo>
                  <a:cubicBezTo>
                    <a:pt x="175" y="644"/>
                    <a:pt x="170" y="641"/>
                    <a:pt x="173" y="635"/>
                  </a:cubicBezTo>
                  <a:cubicBezTo>
                    <a:pt x="170" y="633"/>
                    <a:pt x="168" y="631"/>
                    <a:pt x="168" y="626"/>
                  </a:cubicBezTo>
                  <a:cubicBezTo>
                    <a:pt x="165" y="630"/>
                    <a:pt x="168" y="628"/>
                    <a:pt x="166" y="622"/>
                  </a:cubicBezTo>
                  <a:cubicBezTo>
                    <a:pt x="164" y="617"/>
                    <a:pt x="157" y="613"/>
                    <a:pt x="159" y="606"/>
                  </a:cubicBezTo>
                  <a:cubicBezTo>
                    <a:pt x="158" y="605"/>
                    <a:pt x="158" y="608"/>
                    <a:pt x="158" y="608"/>
                  </a:cubicBezTo>
                  <a:cubicBezTo>
                    <a:pt x="155" y="608"/>
                    <a:pt x="158" y="600"/>
                    <a:pt x="155" y="604"/>
                  </a:cubicBezTo>
                  <a:cubicBezTo>
                    <a:pt x="153" y="602"/>
                    <a:pt x="154" y="598"/>
                    <a:pt x="154" y="595"/>
                  </a:cubicBezTo>
                  <a:cubicBezTo>
                    <a:pt x="155" y="592"/>
                    <a:pt x="155" y="589"/>
                    <a:pt x="153" y="585"/>
                  </a:cubicBezTo>
                  <a:cubicBezTo>
                    <a:pt x="154" y="583"/>
                    <a:pt x="150" y="584"/>
                    <a:pt x="150" y="584"/>
                  </a:cubicBezTo>
                  <a:cubicBezTo>
                    <a:pt x="149" y="583"/>
                    <a:pt x="153" y="580"/>
                    <a:pt x="147" y="581"/>
                  </a:cubicBezTo>
                  <a:cubicBezTo>
                    <a:pt x="147" y="581"/>
                    <a:pt x="148" y="578"/>
                    <a:pt x="147" y="578"/>
                  </a:cubicBezTo>
                  <a:cubicBezTo>
                    <a:pt x="147" y="577"/>
                    <a:pt x="145" y="578"/>
                    <a:pt x="145" y="578"/>
                  </a:cubicBezTo>
                  <a:cubicBezTo>
                    <a:pt x="145" y="577"/>
                    <a:pt x="148" y="573"/>
                    <a:pt x="144" y="574"/>
                  </a:cubicBezTo>
                  <a:cubicBezTo>
                    <a:pt x="143" y="572"/>
                    <a:pt x="145" y="572"/>
                    <a:pt x="145" y="569"/>
                  </a:cubicBezTo>
                  <a:cubicBezTo>
                    <a:pt x="143" y="569"/>
                    <a:pt x="145" y="564"/>
                    <a:pt x="141" y="565"/>
                  </a:cubicBezTo>
                  <a:cubicBezTo>
                    <a:pt x="141" y="554"/>
                    <a:pt x="142" y="550"/>
                    <a:pt x="147" y="543"/>
                  </a:cubicBezTo>
                  <a:cubicBezTo>
                    <a:pt x="147" y="542"/>
                    <a:pt x="149" y="537"/>
                    <a:pt x="146" y="538"/>
                  </a:cubicBezTo>
                  <a:cubicBezTo>
                    <a:pt x="146" y="536"/>
                    <a:pt x="149" y="537"/>
                    <a:pt x="150" y="536"/>
                  </a:cubicBezTo>
                  <a:cubicBezTo>
                    <a:pt x="150" y="536"/>
                    <a:pt x="149" y="534"/>
                    <a:pt x="151" y="534"/>
                  </a:cubicBezTo>
                  <a:cubicBezTo>
                    <a:pt x="150" y="532"/>
                    <a:pt x="150" y="521"/>
                    <a:pt x="148" y="525"/>
                  </a:cubicBezTo>
                  <a:cubicBezTo>
                    <a:pt x="146" y="522"/>
                    <a:pt x="147" y="520"/>
                    <a:pt x="147" y="518"/>
                  </a:cubicBezTo>
                  <a:cubicBezTo>
                    <a:pt x="147" y="515"/>
                    <a:pt x="148" y="512"/>
                    <a:pt x="147" y="509"/>
                  </a:cubicBezTo>
                  <a:cubicBezTo>
                    <a:pt x="147" y="508"/>
                    <a:pt x="145" y="509"/>
                    <a:pt x="145" y="508"/>
                  </a:cubicBezTo>
                  <a:cubicBezTo>
                    <a:pt x="145" y="508"/>
                    <a:pt x="146" y="507"/>
                    <a:pt x="146" y="506"/>
                  </a:cubicBezTo>
                  <a:cubicBezTo>
                    <a:pt x="146" y="506"/>
                    <a:pt x="145" y="505"/>
                    <a:pt x="145" y="505"/>
                  </a:cubicBezTo>
                  <a:cubicBezTo>
                    <a:pt x="145" y="502"/>
                    <a:pt x="144" y="502"/>
                    <a:pt x="142" y="501"/>
                  </a:cubicBezTo>
                  <a:cubicBezTo>
                    <a:pt x="142" y="501"/>
                    <a:pt x="143" y="499"/>
                    <a:pt x="142" y="499"/>
                  </a:cubicBezTo>
                  <a:cubicBezTo>
                    <a:pt x="142" y="499"/>
                    <a:pt x="139" y="499"/>
                    <a:pt x="140" y="498"/>
                  </a:cubicBezTo>
                  <a:cubicBezTo>
                    <a:pt x="140" y="498"/>
                    <a:pt x="141" y="498"/>
                    <a:pt x="141" y="498"/>
                  </a:cubicBezTo>
                  <a:cubicBezTo>
                    <a:pt x="140" y="495"/>
                    <a:pt x="138" y="495"/>
                    <a:pt x="135" y="493"/>
                  </a:cubicBezTo>
                  <a:cubicBezTo>
                    <a:pt x="135" y="492"/>
                    <a:pt x="136" y="492"/>
                    <a:pt x="134" y="492"/>
                  </a:cubicBezTo>
                  <a:cubicBezTo>
                    <a:pt x="133" y="492"/>
                    <a:pt x="133" y="488"/>
                    <a:pt x="131" y="489"/>
                  </a:cubicBezTo>
                  <a:cubicBezTo>
                    <a:pt x="128" y="479"/>
                    <a:pt x="131" y="471"/>
                    <a:pt x="131" y="460"/>
                  </a:cubicBezTo>
                  <a:cubicBezTo>
                    <a:pt x="130" y="458"/>
                    <a:pt x="127" y="462"/>
                    <a:pt x="128" y="456"/>
                  </a:cubicBezTo>
                  <a:cubicBezTo>
                    <a:pt x="121" y="457"/>
                    <a:pt x="116" y="456"/>
                    <a:pt x="112" y="454"/>
                  </a:cubicBezTo>
                  <a:cubicBezTo>
                    <a:pt x="113" y="448"/>
                    <a:pt x="108" y="454"/>
                    <a:pt x="109" y="448"/>
                  </a:cubicBezTo>
                  <a:cubicBezTo>
                    <a:pt x="104" y="447"/>
                    <a:pt x="103" y="445"/>
                    <a:pt x="97" y="447"/>
                  </a:cubicBezTo>
                  <a:cubicBezTo>
                    <a:pt x="95" y="447"/>
                    <a:pt x="94" y="448"/>
                    <a:pt x="92" y="448"/>
                  </a:cubicBezTo>
                  <a:cubicBezTo>
                    <a:pt x="91" y="448"/>
                    <a:pt x="88" y="450"/>
                    <a:pt x="85" y="449"/>
                  </a:cubicBezTo>
                  <a:cubicBezTo>
                    <a:pt x="87" y="452"/>
                    <a:pt x="88" y="450"/>
                    <a:pt x="82" y="452"/>
                  </a:cubicBezTo>
                  <a:cubicBezTo>
                    <a:pt x="78" y="452"/>
                    <a:pt x="76" y="454"/>
                    <a:pt x="69" y="454"/>
                  </a:cubicBezTo>
                  <a:cubicBezTo>
                    <a:pt x="68" y="454"/>
                    <a:pt x="67" y="453"/>
                    <a:pt x="66" y="453"/>
                  </a:cubicBezTo>
                  <a:cubicBezTo>
                    <a:pt x="58" y="452"/>
                    <a:pt x="50" y="457"/>
                    <a:pt x="44" y="455"/>
                  </a:cubicBezTo>
                  <a:cubicBezTo>
                    <a:pt x="44" y="451"/>
                    <a:pt x="39" y="452"/>
                    <a:pt x="38" y="452"/>
                  </a:cubicBezTo>
                  <a:cubicBezTo>
                    <a:pt x="37" y="451"/>
                    <a:pt x="38" y="450"/>
                    <a:pt x="38" y="449"/>
                  </a:cubicBezTo>
                  <a:cubicBezTo>
                    <a:pt x="37" y="449"/>
                    <a:pt x="35" y="450"/>
                    <a:pt x="34" y="449"/>
                  </a:cubicBezTo>
                  <a:cubicBezTo>
                    <a:pt x="34" y="449"/>
                    <a:pt x="35" y="447"/>
                    <a:pt x="34" y="447"/>
                  </a:cubicBezTo>
                  <a:cubicBezTo>
                    <a:pt x="33" y="446"/>
                    <a:pt x="32" y="447"/>
                    <a:pt x="32" y="446"/>
                  </a:cubicBezTo>
                  <a:cubicBezTo>
                    <a:pt x="32" y="446"/>
                    <a:pt x="30" y="444"/>
                    <a:pt x="29" y="443"/>
                  </a:cubicBezTo>
                  <a:cubicBezTo>
                    <a:pt x="29" y="443"/>
                    <a:pt x="30" y="442"/>
                    <a:pt x="28" y="442"/>
                  </a:cubicBezTo>
                  <a:cubicBezTo>
                    <a:pt x="27" y="442"/>
                    <a:pt x="27" y="441"/>
                    <a:pt x="27" y="440"/>
                  </a:cubicBezTo>
                  <a:cubicBezTo>
                    <a:pt x="27" y="438"/>
                    <a:pt x="25" y="440"/>
                    <a:pt x="25" y="439"/>
                  </a:cubicBezTo>
                  <a:cubicBezTo>
                    <a:pt x="24" y="438"/>
                    <a:pt x="25" y="437"/>
                    <a:pt x="25" y="436"/>
                  </a:cubicBezTo>
                  <a:cubicBezTo>
                    <a:pt x="24" y="435"/>
                    <a:pt x="22" y="437"/>
                    <a:pt x="22" y="435"/>
                  </a:cubicBezTo>
                  <a:cubicBezTo>
                    <a:pt x="22" y="435"/>
                    <a:pt x="23" y="433"/>
                    <a:pt x="24" y="434"/>
                  </a:cubicBezTo>
                  <a:cubicBezTo>
                    <a:pt x="22" y="430"/>
                    <a:pt x="17" y="431"/>
                    <a:pt x="18" y="427"/>
                  </a:cubicBezTo>
                  <a:cubicBezTo>
                    <a:pt x="12" y="429"/>
                    <a:pt x="15" y="422"/>
                    <a:pt x="9" y="423"/>
                  </a:cubicBezTo>
                  <a:cubicBezTo>
                    <a:pt x="10" y="422"/>
                    <a:pt x="11" y="421"/>
                    <a:pt x="11" y="420"/>
                  </a:cubicBezTo>
                  <a:cubicBezTo>
                    <a:pt x="10" y="418"/>
                    <a:pt x="8" y="419"/>
                    <a:pt x="6" y="419"/>
                  </a:cubicBezTo>
                  <a:cubicBezTo>
                    <a:pt x="7" y="417"/>
                    <a:pt x="4" y="416"/>
                    <a:pt x="4" y="415"/>
                  </a:cubicBezTo>
                  <a:cubicBezTo>
                    <a:pt x="3" y="413"/>
                    <a:pt x="5" y="413"/>
                    <a:pt x="4" y="410"/>
                  </a:cubicBezTo>
                  <a:cubicBezTo>
                    <a:pt x="3" y="410"/>
                    <a:pt x="2" y="411"/>
                    <a:pt x="2" y="409"/>
                  </a:cubicBezTo>
                  <a:cubicBezTo>
                    <a:pt x="2" y="408"/>
                    <a:pt x="1" y="405"/>
                    <a:pt x="0" y="405"/>
                  </a:cubicBezTo>
                  <a:cubicBezTo>
                    <a:pt x="0" y="403"/>
                    <a:pt x="3" y="404"/>
                    <a:pt x="4" y="403"/>
                  </a:cubicBezTo>
                  <a:cubicBezTo>
                    <a:pt x="4" y="403"/>
                    <a:pt x="4" y="399"/>
                    <a:pt x="6" y="400"/>
                  </a:cubicBezTo>
                  <a:cubicBezTo>
                    <a:pt x="6" y="393"/>
                    <a:pt x="6" y="387"/>
                    <a:pt x="6" y="380"/>
                  </a:cubicBezTo>
                  <a:cubicBezTo>
                    <a:pt x="6" y="378"/>
                    <a:pt x="4" y="379"/>
                    <a:pt x="4" y="379"/>
                  </a:cubicBezTo>
                  <a:cubicBezTo>
                    <a:pt x="3" y="378"/>
                    <a:pt x="5" y="377"/>
                    <a:pt x="5" y="376"/>
                  </a:cubicBezTo>
                  <a:cubicBezTo>
                    <a:pt x="5" y="374"/>
                    <a:pt x="3" y="374"/>
                    <a:pt x="4" y="372"/>
                  </a:cubicBezTo>
                  <a:cubicBezTo>
                    <a:pt x="8" y="377"/>
                    <a:pt x="4" y="363"/>
                    <a:pt x="8" y="368"/>
                  </a:cubicBezTo>
                  <a:cubicBezTo>
                    <a:pt x="9" y="367"/>
                    <a:pt x="8" y="363"/>
                    <a:pt x="9" y="361"/>
                  </a:cubicBezTo>
                  <a:cubicBezTo>
                    <a:pt x="10" y="361"/>
                    <a:pt x="12" y="361"/>
                    <a:pt x="12" y="361"/>
                  </a:cubicBezTo>
                  <a:cubicBezTo>
                    <a:pt x="12" y="360"/>
                    <a:pt x="10" y="359"/>
                    <a:pt x="11" y="357"/>
                  </a:cubicBezTo>
                  <a:cubicBezTo>
                    <a:pt x="15" y="356"/>
                    <a:pt x="14" y="350"/>
                    <a:pt x="19" y="349"/>
                  </a:cubicBezTo>
                  <a:cubicBezTo>
                    <a:pt x="19" y="345"/>
                    <a:pt x="23" y="345"/>
                    <a:pt x="22" y="341"/>
                  </a:cubicBezTo>
                  <a:cubicBezTo>
                    <a:pt x="24" y="341"/>
                    <a:pt x="25" y="340"/>
                    <a:pt x="25" y="339"/>
                  </a:cubicBezTo>
                  <a:cubicBezTo>
                    <a:pt x="32" y="338"/>
                    <a:pt x="37" y="336"/>
                    <a:pt x="36" y="327"/>
                  </a:cubicBezTo>
                  <a:cubicBezTo>
                    <a:pt x="41" y="328"/>
                    <a:pt x="37" y="320"/>
                    <a:pt x="41" y="321"/>
                  </a:cubicBezTo>
                  <a:cubicBezTo>
                    <a:pt x="41" y="319"/>
                    <a:pt x="41" y="316"/>
                    <a:pt x="41" y="314"/>
                  </a:cubicBezTo>
                  <a:cubicBezTo>
                    <a:pt x="43" y="314"/>
                    <a:pt x="44" y="312"/>
                    <a:pt x="46" y="313"/>
                  </a:cubicBezTo>
                  <a:cubicBezTo>
                    <a:pt x="48" y="310"/>
                    <a:pt x="50" y="309"/>
                    <a:pt x="52" y="306"/>
                  </a:cubicBezTo>
                  <a:cubicBezTo>
                    <a:pt x="52" y="305"/>
                    <a:pt x="53" y="306"/>
                    <a:pt x="53" y="304"/>
                  </a:cubicBezTo>
                  <a:cubicBezTo>
                    <a:pt x="53" y="303"/>
                    <a:pt x="56" y="303"/>
                    <a:pt x="55" y="301"/>
                  </a:cubicBezTo>
                  <a:cubicBezTo>
                    <a:pt x="61" y="302"/>
                    <a:pt x="61" y="298"/>
                    <a:pt x="66" y="299"/>
                  </a:cubicBezTo>
                  <a:cubicBezTo>
                    <a:pt x="64" y="303"/>
                    <a:pt x="71" y="299"/>
                    <a:pt x="69" y="303"/>
                  </a:cubicBezTo>
                  <a:cubicBezTo>
                    <a:pt x="72" y="301"/>
                    <a:pt x="81" y="305"/>
                    <a:pt x="81" y="300"/>
                  </a:cubicBezTo>
                  <a:cubicBezTo>
                    <a:pt x="87" y="299"/>
                    <a:pt x="92" y="298"/>
                    <a:pt x="94" y="294"/>
                  </a:cubicBezTo>
                  <a:cubicBezTo>
                    <a:pt x="96" y="294"/>
                    <a:pt x="98" y="294"/>
                    <a:pt x="98" y="293"/>
                  </a:cubicBezTo>
                  <a:cubicBezTo>
                    <a:pt x="100" y="293"/>
                    <a:pt x="100" y="294"/>
                    <a:pt x="102" y="294"/>
                  </a:cubicBezTo>
                  <a:cubicBezTo>
                    <a:pt x="105" y="294"/>
                    <a:pt x="107" y="293"/>
                    <a:pt x="109" y="293"/>
                  </a:cubicBezTo>
                  <a:cubicBezTo>
                    <a:pt x="109" y="293"/>
                    <a:pt x="110" y="294"/>
                    <a:pt x="111" y="294"/>
                  </a:cubicBezTo>
                  <a:cubicBezTo>
                    <a:pt x="113" y="294"/>
                    <a:pt x="118" y="296"/>
                    <a:pt x="124" y="295"/>
                  </a:cubicBezTo>
                  <a:cubicBezTo>
                    <a:pt x="126" y="295"/>
                    <a:pt x="129" y="291"/>
                    <a:pt x="132" y="294"/>
                  </a:cubicBezTo>
                  <a:cubicBezTo>
                    <a:pt x="134" y="296"/>
                    <a:pt x="133" y="294"/>
                    <a:pt x="137" y="294"/>
                  </a:cubicBezTo>
                  <a:cubicBezTo>
                    <a:pt x="137" y="295"/>
                    <a:pt x="138" y="295"/>
                    <a:pt x="138" y="296"/>
                  </a:cubicBezTo>
                  <a:cubicBezTo>
                    <a:pt x="138" y="297"/>
                    <a:pt x="135" y="297"/>
                    <a:pt x="135" y="297"/>
                  </a:cubicBezTo>
                  <a:cubicBezTo>
                    <a:pt x="135" y="299"/>
                    <a:pt x="136" y="298"/>
                    <a:pt x="137" y="299"/>
                  </a:cubicBezTo>
                  <a:cubicBezTo>
                    <a:pt x="137" y="300"/>
                    <a:pt x="135" y="300"/>
                    <a:pt x="135" y="300"/>
                  </a:cubicBezTo>
                  <a:cubicBezTo>
                    <a:pt x="136" y="301"/>
                    <a:pt x="137" y="301"/>
                    <a:pt x="137" y="302"/>
                  </a:cubicBezTo>
                  <a:cubicBezTo>
                    <a:pt x="136" y="305"/>
                    <a:pt x="135" y="307"/>
                    <a:pt x="138" y="312"/>
                  </a:cubicBezTo>
                  <a:cubicBezTo>
                    <a:pt x="138" y="314"/>
                    <a:pt x="140" y="310"/>
                    <a:pt x="141" y="313"/>
                  </a:cubicBezTo>
                  <a:cubicBezTo>
                    <a:pt x="141" y="314"/>
                    <a:pt x="143" y="313"/>
                    <a:pt x="144" y="314"/>
                  </a:cubicBezTo>
                  <a:cubicBezTo>
                    <a:pt x="144" y="314"/>
                    <a:pt x="143" y="316"/>
                    <a:pt x="144" y="316"/>
                  </a:cubicBezTo>
                  <a:cubicBezTo>
                    <a:pt x="145" y="317"/>
                    <a:pt x="147" y="315"/>
                    <a:pt x="147" y="317"/>
                  </a:cubicBezTo>
                  <a:cubicBezTo>
                    <a:pt x="151" y="316"/>
                    <a:pt x="154" y="321"/>
                    <a:pt x="155" y="317"/>
                  </a:cubicBezTo>
                  <a:cubicBezTo>
                    <a:pt x="157" y="317"/>
                    <a:pt x="156" y="319"/>
                    <a:pt x="157" y="320"/>
                  </a:cubicBezTo>
                  <a:cubicBezTo>
                    <a:pt x="158" y="321"/>
                    <a:pt x="160" y="320"/>
                    <a:pt x="162" y="321"/>
                  </a:cubicBezTo>
                  <a:cubicBezTo>
                    <a:pt x="163" y="321"/>
                    <a:pt x="163" y="323"/>
                    <a:pt x="164" y="323"/>
                  </a:cubicBezTo>
                  <a:cubicBezTo>
                    <a:pt x="164" y="324"/>
                    <a:pt x="166" y="323"/>
                    <a:pt x="166" y="323"/>
                  </a:cubicBezTo>
                  <a:cubicBezTo>
                    <a:pt x="167" y="325"/>
                    <a:pt x="168" y="324"/>
                    <a:pt x="170" y="325"/>
                  </a:cubicBezTo>
                  <a:cubicBezTo>
                    <a:pt x="170" y="325"/>
                    <a:pt x="170" y="327"/>
                    <a:pt x="171" y="327"/>
                  </a:cubicBezTo>
                  <a:cubicBezTo>
                    <a:pt x="171" y="327"/>
                    <a:pt x="173" y="326"/>
                    <a:pt x="174" y="326"/>
                  </a:cubicBezTo>
                  <a:cubicBezTo>
                    <a:pt x="174" y="326"/>
                    <a:pt x="175" y="327"/>
                    <a:pt x="175" y="327"/>
                  </a:cubicBezTo>
                  <a:cubicBezTo>
                    <a:pt x="176" y="327"/>
                    <a:pt x="177" y="327"/>
                    <a:pt x="178" y="327"/>
                  </a:cubicBezTo>
                  <a:cubicBezTo>
                    <a:pt x="178" y="326"/>
                    <a:pt x="180" y="325"/>
                    <a:pt x="180" y="325"/>
                  </a:cubicBezTo>
                  <a:cubicBezTo>
                    <a:pt x="180" y="325"/>
                    <a:pt x="182" y="324"/>
                    <a:pt x="181" y="323"/>
                  </a:cubicBezTo>
                  <a:cubicBezTo>
                    <a:pt x="178" y="321"/>
                    <a:pt x="185" y="322"/>
                    <a:pt x="185" y="317"/>
                  </a:cubicBezTo>
                  <a:cubicBezTo>
                    <a:pt x="188" y="318"/>
                    <a:pt x="188" y="315"/>
                    <a:pt x="192" y="316"/>
                  </a:cubicBezTo>
                  <a:cubicBezTo>
                    <a:pt x="193" y="316"/>
                    <a:pt x="193" y="317"/>
                    <a:pt x="193" y="317"/>
                  </a:cubicBezTo>
                  <a:cubicBezTo>
                    <a:pt x="194" y="318"/>
                    <a:pt x="196" y="317"/>
                    <a:pt x="198" y="317"/>
                  </a:cubicBezTo>
                  <a:cubicBezTo>
                    <a:pt x="198" y="318"/>
                    <a:pt x="200" y="320"/>
                    <a:pt x="200" y="320"/>
                  </a:cubicBezTo>
                  <a:cubicBezTo>
                    <a:pt x="201" y="320"/>
                    <a:pt x="202" y="318"/>
                    <a:pt x="204" y="319"/>
                  </a:cubicBezTo>
                  <a:cubicBezTo>
                    <a:pt x="204" y="319"/>
                    <a:pt x="204" y="321"/>
                    <a:pt x="204" y="321"/>
                  </a:cubicBezTo>
                  <a:cubicBezTo>
                    <a:pt x="205" y="321"/>
                    <a:pt x="206" y="319"/>
                    <a:pt x="208" y="320"/>
                  </a:cubicBezTo>
                  <a:cubicBezTo>
                    <a:pt x="209" y="321"/>
                    <a:pt x="206" y="321"/>
                    <a:pt x="206" y="321"/>
                  </a:cubicBezTo>
                  <a:cubicBezTo>
                    <a:pt x="207" y="323"/>
                    <a:pt x="214" y="323"/>
                    <a:pt x="218" y="323"/>
                  </a:cubicBezTo>
                  <a:cubicBezTo>
                    <a:pt x="217" y="328"/>
                    <a:pt x="227" y="326"/>
                    <a:pt x="230" y="323"/>
                  </a:cubicBezTo>
                  <a:cubicBezTo>
                    <a:pt x="230" y="324"/>
                    <a:pt x="235" y="322"/>
                    <a:pt x="237" y="323"/>
                  </a:cubicBezTo>
                  <a:cubicBezTo>
                    <a:pt x="238" y="325"/>
                    <a:pt x="237" y="323"/>
                    <a:pt x="239" y="323"/>
                  </a:cubicBezTo>
                  <a:cubicBezTo>
                    <a:pt x="241" y="324"/>
                    <a:pt x="243" y="325"/>
                    <a:pt x="245" y="325"/>
                  </a:cubicBezTo>
                  <a:cubicBezTo>
                    <a:pt x="247" y="324"/>
                    <a:pt x="248" y="322"/>
                    <a:pt x="251" y="322"/>
                  </a:cubicBezTo>
                  <a:cubicBezTo>
                    <a:pt x="252" y="320"/>
                    <a:pt x="251" y="316"/>
                    <a:pt x="254" y="315"/>
                  </a:cubicBezTo>
                  <a:cubicBezTo>
                    <a:pt x="254" y="313"/>
                    <a:pt x="253" y="313"/>
                    <a:pt x="253" y="310"/>
                  </a:cubicBezTo>
                  <a:cubicBezTo>
                    <a:pt x="257" y="311"/>
                    <a:pt x="257" y="303"/>
                    <a:pt x="260" y="307"/>
                  </a:cubicBezTo>
                  <a:cubicBezTo>
                    <a:pt x="261" y="302"/>
                    <a:pt x="259" y="301"/>
                    <a:pt x="255" y="301"/>
                  </a:cubicBezTo>
                  <a:cubicBezTo>
                    <a:pt x="256" y="300"/>
                    <a:pt x="257" y="298"/>
                    <a:pt x="257" y="296"/>
                  </a:cubicBezTo>
                  <a:cubicBezTo>
                    <a:pt x="255" y="293"/>
                    <a:pt x="249" y="295"/>
                    <a:pt x="247" y="292"/>
                  </a:cubicBezTo>
                  <a:cubicBezTo>
                    <a:pt x="245" y="293"/>
                    <a:pt x="241" y="293"/>
                    <a:pt x="240" y="295"/>
                  </a:cubicBezTo>
                  <a:cubicBezTo>
                    <a:pt x="239" y="295"/>
                    <a:pt x="240" y="293"/>
                    <a:pt x="239" y="293"/>
                  </a:cubicBezTo>
                  <a:cubicBezTo>
                    <a:pt x="237" y="292"/>
                    <a:pt x="233" y="294"/>
                    <a:pt x="231" y="293"/>
                  </a:cubicBezTo>
                  <a:cubicBezTo>
                    <a:pt x="230" y="293"/>
                    <a:pt x="230" y="295"/>
                    <a:pt x="227" y="295"/>
                  </a:cubicBezTo>
                  <a:cubicBezTo>
                    <a:pt x="224" y="295"/>
                    <a:pt x="225" y="291"/>
                    <a:pt x="219" y="292"/>
                  </a:cubicBezTo>
                  <a:cubicBezTo>
                    <a:pt x="219" y="289"/>
                    <a:pt x="218" y="289"/>
                    <a:pt x="218" y="287"/>
                  </a:cubicBezTo>
                  <a:cubicBezTo>
                    <a:pt x="216" y="287"/>
                    <a:pt x="216" y="287"/>
                    <a:pt x="215" y="286"/>
                  </a:cubicBezTo>
                  <a:cubicBezTo>
                    <a:pt x="215" y="284"/>
                    <a:pt x="213" y="283"/>
                    <a:pt x="211" y="283"/>
                  </a:cubicBezTo>
                  <a:cubicBezTo>
                    <a:pt x="213" y="280"/>
                    <a:pt x="212" y="273"/>
                    <a:pt x="211" y="270"/>
                  </a:cubicBezTo>
                  <a:cubicBezTo>
                    <a:pt x="208" y="272"/>
                    <a:pt x="204" y="268"/>
                    <a:pt x="204" y="274"/>
                  </a:cubicBezTo>
                  <a:cubicBezTo>
                    <a:pt x="200" y="272"/>
                    <a:pt x="200" y="275"/>
                    <a:pt x="197" y="273"/>
                  </a:cubicBezTo>
                  <a:cubicBezTo>
                    <a:pt x="197" y="274"/>
                    <a:pt x="196" y="275"/>
                    <a:pt x="195" y="275"/>
                  </a:cubicBezTo>
                  <a:cubicBezTo>
                    <a:pt x="196" y="276"/>
                    <a:pt x="197" y="276"/>
                    <a:pt x="198" y="277"/>
                  </a:cubicBezTo>
                  <a:cubicBezTo>
                    <a:pt x="199" y="278"/>
                    <a:pt x="198" y="280"/>
                    <a:pt x="200" y="280"/>
                  </a:cubicBezTo>
                  <a:cubicBezTo>
                    <a:pt x="199" y="284"/>
                    <a:pt x="199" y="282"/>
                    <a:pt x="201" y="284"/>
                  </a:cubicBezTo>
                  <a:cubicBezTo>
                    <a:pt x="202" y="287"/>
                    <a:pt x="200" y="286"/>
                    <a:pt x="199" y="287"/>
                  </a:cubicBezTo>
                  <a:cubicBezTo>
                    <a:pt x="199" y="287"/>
                    <a:pt x="197" y="291"/>
                    <a:pt x="197" y="290"/>
                  </a:cubicBezTo>
                  <a:cubicBezTo>
                    <a:pt x="194" y="288"/>
                    <a:pt x="197" y="293"/>
                    <a:pt x="192" y="293"/>
                  </a:cubicBezTo>
                  <a:cubicBezTo>
                    <a:pt x="191" y="292"/>
                    <a:pt x="191" y="291"/>
                    <a:pt x="190" y="290"/>
                  </a:cubicBezTo>
                  <a:cubicBezTo>
                    <a:pt x="189" y="288"/>
                    <a:pt x="190" y="288"/>
                    <a:pt x="192" y="288"/>
                  </a:cubicBezTo>
                  <a:cubicBezTo>
                    <a:pt x="190" y="286"/>
                    <a:pt x="187" y="285"/>
                    <a:pt x="190" y="282"/>
                  </a:cubicBezTo>
                  <a:cubicBezTo>
                    <a:pt x="188" y="282"/>
                    <a:pt x="186" y="283"/>
                    <a:pt x="185" y="282"/>
                  </a:cubicBezTo>
                  <a:cubicBezTo>
                    <a:pt x="184" y="281"/>
                    <a:pt x="187" y="281"/>
                    <a:pt x="187" y="281"/>
                  </a:cubicBezTo>
                  <a:cubicBezTo>
                    <a:pt x="187" y="281"/>
                    <a:pt x="184" y="278"/>
                    <a:pt x="181" y="276"/>
                  </a:cubicBezTo>
                  <a:cubicBezTo>
                    <a:pt x="182" y="271"/>
                    <a:pt x="179" y="269"/>
                    <a:pt x="179" y="264"/>
                  </a:cubicBezTo>
                  <a:cubicBezTo>
                    <a:pt x="179" y="263"/>
                    <a:pt x="176" y="264"/>
                    <a:pt x="175" y="263"/>
                  </a:cubicBezTo>
                  <a:cubicBezTo>
                    <a:pt x="175" y="263"/>
                    <a:pt x="177" y="261"/>
                    <a:pt x="177" y="261"/>
                  </a:cubicBezTo>
                  <a:cubicBezTo>
                    <a:pt x="174" y="259"/>
                    <a:pt x="174" y="261"/>
                    <a:pt x="172" y="260"/>
                  </a:cubicBezTo>
                  <a:cubicBezTo>
                    <a:pt x="172" y="260"/>
                    <a:pt x="173" y="258"/>
                    <a:pt x="173" y="257"/>
                  </a:cubicBezTo>
                  <a:cubicBezTo>
                    <a:pt x="173" y="256"/>
                    <a:pt x="171" y="259"/>
                    <a:pt x="172" y="259"/>
                  </a:cubicBezTo>
                  <a:cubicBezTo>
                    <a:pt x="171" y="259"/>
                    <a:pt x="171" y="257"/>
                    <a:pt x="171" y="256"/>
                  </a:cubicBezTo>
                  <a:cubicBezTo>
                    <a:pt x="166" y="257"/>
                    <a:pt x="166" y="253"/>
                    <a:pt x="161" y="254"/>
                  </a:cubicBezTo>
                  <a:cubicBezTo>
                    <a:pt x="161" y="252"/>
                    <a:pt x="160" y="252"/>
                    <a:pt x="159" y="252"/>
                  </a:cubicBezTo>
                  <a:cubicBezTo>
                    <a:pt x="159" y="251"/>
                    <a:pt x="159" y="250"/>
                    <a:pt x="159" y="249"/>
                  </a:cubicBezTo>
                  <a:cubicBezTo>
                    <a:pt x="159" y="249"/>
                    <a:pt x="157" y="250"/>
                    <a:pt x="157" y="249"/>
                  </a:cubicBezTo>
                  <a:cubicBezTo>
                    <a:pt x="156" y="249"/>
                    <a:pt x="156" y="244"/>
                    <a:pt x="155" y="246"/>
                  </a:cubicBezTo>
                  <a:cubicBezTo>
                    <a:pt x="155" y="247"/>
                    <a:pt x="154" y="246"/>
                    <a:pt x="153" y="244"/>
                  </a:cubicBezTo>
                  <a:cubicBezTo>
                    <a:pt x="153" y="244"/>
                    <a:pt x="152" y="243"/>
                    <a:pt x="152" y="242"/>
                  </a:cubicBezTo>
                  <a:cubicBezTo>
                    <a:pt x="147" y="242"/>
                    <a:pt x="149" y="243"/>
                    <a:pt x="145" y="242"/>
                  </a:cubicBezTo>
                  <a:cubicBezTo>
                    <a:pt x="144" y="242"/>
                    <a:pt x="144" y="244"/>
                    <a:pt x="142" y="244"/>
                  </a:cubicBezTo>
                  <a:cubicBezTo>
                    <a:pt x="141" y="248"/>
                    <a:pt x="145" y="247"/>
                    <a:pt x="145" y="249"/>
                  </a:cubicBezTo>
                  <a:cubicBezTo>
                    <a:pt x="145" y="250"/>
                    <a:pt x="147" y="252"/>
                    <a:pt x="147" y="253"/>
                  </a:cubicBezTo>
                  <a:cubicBezTo>
                    <a:pt x="148" y="253"/>
                    <a:pt x="148" y="254"/>
                    <a:pt x="150" y="254"/>
                  </a:cubicBezTo>
                  <a:cubicBezTo>
                    <a:pt x="148" y="257"/>
                    <a:pt x="152" y="257"/>
                    <a:pt x="153" y="259"/>
                  </a:cubicBezTo>
                  <a:cubicBezTo>
                    <a:pt x="153" y="259"/>
                    <a:pt x="154" y="263"/>
                    <a:pt x="155" y="262"/>
                  </a:cubicBezTo>
                  <a:cubicBezTo>
                    <a:pt x="157" y="260"/>
                    <a:pt x="155" y="262"/>
                    <a:pt x="157" y="263"/>
                  </a:cubicBezTo>
                  <a:cubicBezTo>
                    <a:pt x="158" y="264"/>
                    <a:pt x="161" y="264"/>
                    <a:pt x="161" y="267"/>
                  </a:cubicBezTo>
                  <a:cubicBezTo>
                    <a:pt x="163" y="266"/>
                    <a:pt x="163" y="268"/>
                    <a:pt x="164" y="268"/>
                  </a:cubicBezTo>
                  <a:cubicBezTo>
                    <a:pt x="164" y="268"/>
                    <a:pt x="165" y="267"/>
                    <a:pt x="165" y="267"/>
                  </a:cubicBezTo>
                  <a:cubicBezTo>
                    <a:pt x="166" y="267"/>
                    <a:pt x="167" y="270"/>
                    <a:pt x="167" y="268"/>
                  </a:cubicBezTo>
                  <a:cubicBezTo>
                    <a:pt x="170" y="268"/>
                    <a:pt x="167" y="273"/>
                    <a:pt x="171" y="272"/>
                  </a:cubicBezTo>
                  <a:cubicBezTo>
                    <a:pt x="171" y="274"/>
                    <a:pt x="166" y="272"/>
                    <a:pt x="164" y="273"/>
                  </a:cubicBezTo>
                  <a:cubicBezTo>
                    <a:pt x="164" y="274"/>
                    <a:pt x="165" y="274"/>
                    <a:pt x="166" y="275"/>
                  </a:cubicBezTo>
                  <a:cubicBezTo>
                    <a:pt x="167" y="277"/>
                    <a:pt x="164" y="281"/>
                    <a:pt x="166" y="281"/>
                  </a:cubicBezTo>
                  <a:cubicBezTo>
                    <a:pt x="165" y="283"/>
                    <a:pt x="162" y="283"/>
                    <a:pt x="160" y="283"/>
                  </a:cubicBezTo>
                  <a:cubicBezTo>
                    <a:pt x="162" y="283"/>
                    <a:pt x="160" y="279"/>
                    <a:pt x="162" y="279"/>
                  </a:cubicBezTo>
                  <a:cubicBezTo>
                    <a:pt x="161" y="278"/>
                    <a:pt x="162" y="275"/>
                    <a:pt x="160" y="275"/>
                  </a:cubicBezTo>
                  <a:cubicBezTo>
                    <a:pt x="158" y="275"/>
                    <a:pt x="161" y="273"/>
                    <a:pt x="158" y="272"/>
                  </a:cubicBezTo>
                  <a:cubicBezTo>
                    <a:pt x="156" y="271"/>
                    <a:pt x="154" y="271"/>
                    <a:pt x="154" y="268"/>
                  </a:cubicBezTo>
                  <a:cubicBezTo>
                    <a:pt x="149" y="269"/>
                    <a:pt x="149" y="266"/>
                    <a:pt x="145" y="266"/>
                  </a:cubicBezTo>
                  <a:cubicBezTo>
                    <a:pt x="144" y="263"/>
                    <a:pt x="142" y="261"/>
                    <a:pt x="140" y="259"/>
                  </a:cubicBezTo>
                  <a:cubicBezTo>
                    <a:pt x="140" y="258"/>
                    <a:pt x="139" y="259"/>
                    <a:pt x="139" y="257"/>
                  </a:cubicBezTo>
                  <a:cubicBezTo>
                    <a:pt x="139" y="256"/>
                    <a:pt x="137" y="257"/>
                    <a:pt x="137" y="256"/>
                  </a:cubicBezTo>
                  <a:cubicBezTo>
                    <a:pt x="136" y="256"/>
                    <a:pt x="137" y="254"/>
                    <a:pt x="137" y="254"/>
                  </a:cubicBezTo>
                  <a:cubicBezTo>
                    <a:pt x="135" y="253"/>
                    <a:pt x="133" y="255"/>
                    <a:pt x="132" y="254"/>
                  </a:cubicBezTo>
                  <a:cubicBezTo>
                    <a:pt x="131" y="253"/>
                    <a:pt x="134" y="252"/>
                    <a:pt x="134" y="253"/>
                  </a:cubicBezTo>
                  <a:cubicBezTo>
                    <a:pt x="133" y="250"/>
                    <a:pt x="126" y="250"/>
                    <a:pt x="122" y="252"/>
                  </a:cubicBezTo>
                  <a:cubicBezTo>
                    <a:pt x="122" y="252"/>
                    <a:pt x="125" y="253"/>
                    <a:pt x="125" y="253"/>
                  </a:cubicBezTo>
                  <a:cubicBezTo>
                    <a:pt x="124" y="254"/>
                    <a:pt x="123" y="253"/>
                    <a:pt x="121" y="254"/>
                  </a:cubicBezTo>
                  <a:cubicBezTo>
                    <a:pt x="119" y="255"/>
                    <a:pt x="119" y="259"/>
                    <a:pt x="117" y="259"/>
                  </a:cubicBezTo>
                  <a:cubicBezTo>
                    <a:pt x="112" y="258"/>
                    <a:pt x="111" y="254"/>
                    <a:pt x="105" y="255"/>
                  </a:cubicBezTo>
                  <a:cubicBezTo>
                    <a:pt x="103" y="256"/>
                    <a:pt x="104" y="259"/>
                    <a:pt x="100" y="257"/>
                  </a:cubicBezTo>
                  <a:cubicBezTo>
                    <a:pt x="100" y="260"/>
                    <a:pt x="100" y="263"/>
                    <a:pt x="100" y="266"/>
                  </a:cubicBezTo>
                  <a:cubicBezTo>
                    <a:pt x="96" y="267"/>
                    <a:pt x="89" y="266"/>
                    <a:pt x="91" y="273"/>
                  </a:cubicBezTo>
                  <a:cubicBezTo>
                    <a:pt x="83" y="271"/>
                    <a:pt x="89" y="277"/>
                    <a:pt x="82" y="277"/>
                  </a:cubicBezTo>
                  <a:cubicBezTo>
                    <a:pt x="82" y="279"/>
                    <a:pt x="86" y="282"/>
                    <a:pt x="84" y="282"/>
                  </a:cubicBezTo>
                  <a:cubicBezTo>
                    <a:pt x="83" y="286"/>
                    <a:pt x="81" y="282"/>
                    <a:pt x="79" y="286"/>
                  </a:cubicBezTo>
                  <a:cubicBezTo>
                    <a:pt x="79" y="287"/>
                    <a:pt x="79" y="288"/>
                    <a:pt x="80" y="288"/>
                  </a:cubicBezTo>
                  <a:cubicBezTo>
                    <a:pt x="80" y="291"/>
                    <a:pt x="76" y="289"/>
                    <a:pt x="74" y="289"/>
                  </a:cubicBezTo>
                  <a:cubicBezTo>
                    <a:pt x="73" y="289"/>
                    <a:pt x="73" y="292"/>
                    <a:pt x="72" y="293"/>
                  </a:cubicBezTo>
                  <a:cubicBezTo>
                    <a:pt x="68" y="295"/>
                    <a:pt x="62" y="292"/>
                    <a:pt x="59" y="296"/>
                  </a:cubicBezTo>
                  <a:cubicBezTo>
                    <a:pt x="57" y="295"/>
                    <a:pt x="57" y="293"/>
                    <a:pt x="55" y="292"/>
                  </a:cubicBezTo>
                  <a:cubicBezTo>
                    <a:pt x="50" y="291"/>
                    <a:pt x="44" y="293"/>
                    <a:pt x="42" y="292"/>
                  </a:cubicBezTo>
                  <a:cubicBezTo>
                    <a:pt x="43" y="287"/>
                    <a:pt x="45" y="282"/>
                    <a:pt x="41" y="280"/>
                  </a:cubicBezTo>
                  <a:cubicBezTo>
                    <a:pt x="40" y="278"/>
                    <a:pt x="43" y="277"/>
                    <a:pt x="44" y="275"/>
                  </a:cubicBezTo>
                  <a:cubicBezTo>
                    <a:pt x="44" y="272"/>
                    <a:pt x="42" y="268"/>
                    <a:pt x="45" y="266"/>
                  </a:cubicBezTo>
                  <a:cubicBezTo>
                    <a:pt x="44" y="263"/>
                    <a:pt x="44" y="259"/>
                    <a:pt x="41" y="259"/>
                  </a:cubicBezTo>
                  <a:cubicBezTo>
                    <a:pt x="42" y="257"/>
                    <a:pt x="44" y="257"/>
                    <a:pt x="44" y="255"/>
                  </a:cubicBezTo>
                  <a:cubicBezTo>
                    <a:pt x="47" y="256"/>
                    <a:pt x="54" y="253"/>
                    <a:pt x="53" y="257"/>
                  </a:cubicBezTo>
                  <a:cubicBezTo>
                    <a:pt x="56" y="255"/>
                    <a:pt x="67" y="260"/>
                    <a:pt x="69" y="257"/>
                  </a:cubicBezTo>
                  <a:cubicBezTo>
                    <a:pt x="70" y="256"/>
                    <a:pt x="70" y="257"/>
                    <a:pt x="72" y="257"/>
                  </a:cubicBezTo>
                  <a:cubicBezTo>
                    <a:pt x="71" y="257"/>
                    <a:pt x="72" y="256"/>
                    <a:pt x="73" y="256"/>
                  </a:cubicBezTo>
                  <a:cubicBezTo>
                    <a:pt x="73" y="256"/>
                    <a:pt x="73" y="257"/>
                    <a:pt x="73" y="257"/>
                  </a:cubicBezTo>
                  <a:cubicBezTo>
                    <a:pt x="76" y="256"/>
                    <a:pt x="78" y="255"/>
                    <a:pt x="79" y="252"/>
                  </a:cubicBezTo>
                  <a:cubicBezTo>
                    <a:pt x="79" y="250"/>
                    <a:pt x="82" y="244"/>
                    <a:pt x="79" y="241"/>
                  </a:cubicBezTo>
                  <a:cubicBezTo>
                    <a:pt x="77" y="239"/>
                    <a:pt x="80" y="239"/>
                    <a:pt x="78" y="236"/>
                  </a:cubicBezTo>
                  <a:cubicBezTo>
                    <a:pt x="77" y="235"/>
                    <a:pt x="76" y="235"/>
                    <a:pt x="74" y="235"/>
                  </a:cubicBezTo>
                  <a:cubicBezTo>
                    <a:pt x="75" y="234"/>
                    <a:pt x="75" y="233"/>
                    <a:pt x="75" y="231"/>
                  </a:cubicBezTo>
                  <a:cubicBezTo>
                    <a:pt x="74" y="231"/>
                    <a:pt x="73" y="233"/>
                    <a:pt x="73" y="233"/>
                  </a:cubicBezTo>
                  <a:cubicBezTo>
                    <a:pt x="71" y="232"/>
                    <a:pt x="73" y="231"/>
                    <a:pt x="72" y="230"/>
                  </a:cubicBezTo>
                  <a:cubicBezTo>
                    <a:pt x="71" y="230"/>
                    <a:pt x="67" y="230"/>
                    <a:pt x="66" y="229"/>
                  </a:cubicBezTo>
                  <a:cubicBezTo>
                    <a:pt x="65" y="229"/>
                    <a:pt x="66" y="228"/>
                    <a:pt x="65" y="228"/>
                  </a:cubicBezTo>
                  <a:cubicBezTo>
                    <a:pt x="63" y="228"/>
                    <a:pt x="63" y="228"/>
                    <a:pt x="62" y="227"/>
                  </a:cubicBezTo>
                  <a:cubicBezTo>
                    <a:pt x="61" y="223"/>
                    <a:pt x="65" y="226"/>
                    <a:pt x="65" y="226"/>
                  </a:cubicBezTo>
                  <a:cubicBezTo>
                    <a:pt x="68" y="224"/>
                    <a:pt x="71" y="222"/>
                    <a:pt x="78" y="223"/>
                  </a:cubicBezTo>
                  <a:cubicBezTo>
                    <a:pt x="78" y="221"/>
                    <a:pt x="77" y="221"/>
                    <a:pt x="75" y="221"/>
                  </a:cubicBezTo>
                  <a:cubicBezTo>
                    <a:pt x="76" y="218"/>
                    <a:pt x="80" y="221"/>
                    <a:pt x="82" y="221"/>
                  </a:cubicBezTo>
                  <a:cubicBezTo>
                    <a:pt x="83" y="221"/>
                    <a:pt x="86" y="218"/>
                    <a:pt x="86" y="221"/>
                  </a:cubicBezTo>
                  <a:cubicBezTo>
                    <a:pt x="88" y="219"/>
                    <a:pt x="89" y="215"/>
                    <a:pt x="93" y="215"/>
                  </a:cubicBezTo>
                  <a:cubicBezTo>
                    <a:pt x="91" y="211"/>
                    <a:pt x="96" y="213"/>
                    <a:pt x="95" y="209"/>
                  </a:cubicBezTo>
                  <a:cubicBezTo>
                    <a:pt x="98" y="209"/>
                    <a:pt x="100" y="209"/>
                    <a:pt x="102" y="209"/>
                  </a:cubicBezTo>
                  <a:cubicBezTo>
                    <a:pt x="102" y="208"/>
                    <a:pt x="101" y="208"/>
                    <a:pt x="100" y="208"/>
                  </a:cubicBezTo>
                  <a:cubicBezTo>
                    <a:pt x="101" y="206"/>
                    <a:pt x="104" y="207"/>
                    <a:pt x="102" y="203"/>
                  </a:cubicBezTo>
                  <a:cubicBezTo>
                    <a:pt x="106" y="203"/>
                    <a:pt x="105" y="205"/>
                    <a:pt x="107" y="203"/>
                  </a:cubicBezTo>
                  <a:cubicBezTo>
                    <a:pt x="104" y="197"/>
                    <a:pt x="109" y="200"/>
                    <a:pt x="109" y="194"/>
                  </a:cubicBezTo>
                  <a:cubicBezTo>
                    <a:pt x="111" y="194"/>
                    <a:pt x="113" y="194"/>
                    <a:pt x="114" y="194"/>
                  </a:cubicBezTo>
                  <a:cubicBezTo>
                    <a:pt x="116" y="193"/>
                    <a:pt x="116" y="192"/>
                    <a:pt x="117" y="191"/>
                  </a:cubicBezTo>
                  <a:cubicBezTo>
                    <a:pt x="118" y="191"/>
                    <a:pt x="117" y="193"/>
                    <a:pt x="118" y="193"/>
                  </a:cubicBezTo>
                  <a:cubicBezTo>
                    <a:pt x="119" y="193"/>
                    <a:pt x="119" y="191"/>
                    <a:pt x="119" y="191"/>
                  </a:cubicBezTo>
                  <a:cubicBezTo>
                    <a:pt x="120" y="191"/>
                    <a:pt x="122" y="192"/>
                    <a:pt x="124" y="191"/>
                  </a:cubicBezTo>
                  <a:cubicBezTo>
                    <a:pt x="125" y="191"/>
                    <a:pt x="126" y="188"/>
                    <a:pt x="128" y="189"/>
                  </a:cubicBezTo>
                  <a:cubicBezTo>
                    <a:pt x="128" y="186"/>
                    <a:pt x="124" y="187"/>
                    <a:pt x="125" y="183"/>
                  </a:cubicBezTo>
                  <a:cubicBezTo>
                    <a:pt x="128" y="183"/>
                    <a:pt x="126" y="182"/>
                    <a:pt x="126" y="177"/>
                  </a:cubicBezTo>
                  <a:cubicBezTo>
                    <a:pt x="126" y="174"/>
                    <a:pt x="128" y="172"/>
                    <a:pt x="127" y="169"/>
                  </a:cubicBezTo>
                  <a:cubicBezTo>
                    <a:pt x="129" y="169"/>
                    <a:pt x="130" y="169"/>
                    <a:pt x="132" y="169"/>
                  </a:cubicBezTo>
                  <a:cubicBezTo>
                    <a:pt x="135" y="169"/>
                    <a:pt x="129" y="166"/>
                    <a:pt x="134" y="167"/>
                  </a:cubicBezTo>
                  <a:cubicBezTo>
                    <a:pt x="134" y="168"/>
                    <a:pt x="136" y="168"/>
                    <a:pt x="137" y="168"/>
                  </a:cubicBezTo>
                  <a:cubicBezTo>
                    <a:pt x="135" y="171"/>
                    <a:pt x="135" y="168"/>
                    <a:pt x="135" y="171"/>
                  </a:cubicBezTo>
                  <a:cubicBezTo>
                    <a:pt x="136" y="174"/>
                    <a:pt x="135" y="175"/>
                    <a:pt x="138" y="175"/>
                  </a:cubicBezTo>
                  <a:cubicBezTo>
                    <a:pt x="138" y="177"/>
                    <a:pt x="138" y="178"/>
                    <a:pt x="137" y="179"/>
                  </a:cubicBezTo>
                  <a:cubicBezTo>
                    <a:pt x="136" y="181"/>
                    <a:pt x="142" y="177"/>
                    <a:pt x="144" y="180"/>
                  </a:cubicBezTo>
                  <a:cubicBezTo>
                    <a:pt x="143" y="183"/>
                    <a:pt x="136" y="180"/>
                    <a:pt x="135" y="184"/>
                  </a:cubicBezTo>
                  <a:cubicBezTo>
                    <a:pt x="134" y="187"/>
                    <a:pt x="138" y="187"/>
                    <a:pt x="139" y="188"/>
                  </a:cubicBezTo>
                  <a:cubicBezTo>
                    <a:pt x="140" y="189"/>
                    <a:pt x="140" y="191"/>
                    <a:pt x="142" y="190"/>
                  </a:cubicBezTo>
                  <a:cubicBezTo>
                    <a:pt x="141" y="188"/>
                    <a:pt x="138" y="188"/>
                    <a:pt x="144" y="188"/>
                  </a:cubicBezTo>
                  <a:cubicBezTo>
                    <a:pt x="145" y="188"/>
                    <a:pt x="147" y="188"/>
                    <a:pt x="148" y="188"/>
                  </a:cubicBezTo>
                  <a:cubicBezTo>
                    <a:pt x="150" y="188"/>
                    <a:pt x="151" y="189"/>
                    <a:pt x="153" y="189"/>
                  </a:cubicBezTo>
                  <a:cubicBezTo>
                    <a:pt x="156" y="189"/>
                    <a:pt x="157" y="187"/>
                    <a:pt x="160" y="188"/>
                  </a:cubicBezTo>
                  <a:cubicBezTo>
                    <a:pt x="160" y="188"/>
                    <a:pt x="164" y="190"/>
                    <a:pt x="166" y="188"/>
                  </a:cubicBezTo>
                  <a:cubicBezTo>
                    <a:pt x="166" y="188"/>
                    <a:pt x="166" y="187"/>
                    <a:pt x="166" y="187"/>
                  </a:cubicBezTo>
                  <a:cubicBezTo>
                    <a:pt x="169" y="186"/>
                    <a:pt x="173" y="187"/>
                    <a:pt x="174" y="184"/>
                  </a:cubicBezTo>
                  <a:cubicBezTo>
                    <a:pt x="179" y="189"/>
                    <a:pt x="182" y="180"/>
                    <a:pt x="185" y="183"/>
                  </a:cubicBezTo>
                  <a:cubicBezTo>
                    <a:pt x="185" y="182"/>
                    <a:pt x="185" y="180"/>
                    <a:pt x="185" y="179"/>
                  </a:cubicBezTo>
                  <a:cubicBezTo>
                    <a:pt x="187" y="179"/>
                    <a:pt x="187" y="178"/>
                    <a:pt x="187" y="176"/>
                  </a:cubicBezTo>
                  <a:cubicBezTo>
                    <a:pt x="187" y="176"/>
                    <a:pt x="188" y="173"/>
                    <a:pt x="188" y="173"/>
                  </a:cubicBezTo>
                  <a:cubicBezTo>
                    <a:pt x="190" y="172"/>
                    <a:pt x="188" y="172"/>
                    <a:pt x="188" y="169"/>
                  </a:cubicBezTo>
                  <a:cubicBezTo>
                    <a:pt x="191" y="169"/>
                    <a:pt x="193" y="169"/>
                    <a:pt x="193" y="167"/>
                  </a:cubicBezTo>
                  <a:cubicBezTo>
                    <a:pt x="194" y="167"/>
                    <a:pt x="194" y="168"/>
                    <a:pt x="194" y="169"/>
                  </a:cubicBezTo>
                  <a:cubicBezTo>
                    <a:pt x="195" y="168"/>
                    <a:pt x="197" y="168"/>
                    <a:pt x="199" y="168"/>
                  </a:cubicBezTo>
                  <a:cubicBezTo>
                    <a:pt x="200" y="168"/>
                    <a:pt x="200" y="166"/>
                    <a:pt x="201" y="166"/>
                  </a:cubicBezTo>
                  <a:cubicBezTo>
                    <a:pt x="202" y="163"/>
                    <a:pt x="201" y="161"/>
                    <a:pt x="199" y="161"/>
                  </a:cubicBezTo>
                  <a:cubicBezTo>
                    <a:pt x="200" y="160"/>
                    <a:pt x="200" y="158"/>
                    <a:pt x="200" y="156"/>
                  </a:cubicBezTo>
                  <a:cubicBezTo>
                    <a:pt x="203" y="157"/>
                    <a:pt x="204" y="156"/>
                    <a:pt x="204" y="154"/>
                  </a:cubicBezTo>
                  <a:cubicBezTo>
                    <a:pt x="207" y="157"/>
                    <a:pt x="207" y="152"/>
                    <a:pt x="212" y="154"/>
                  </a:cubicBezTo>
                  <a:cubicBezTo>
                    <a:pt x="212" y="154"/>
                    <a:pt x="213" y="155"/>
                    <a:pt x="213" y="155"/>
                  </a:cubicBezTo>
                  <a:cubicBezTo>
                    <a:pt x="214" y="155"/>
                    <a:pt x="214" y="154"/>
                    <a:pt x="215" y="154"/>
                  </a:cubicBezTo>
                  <a:cubicBezTo>
                    <a:pt x="216" y="154"/>
                    <a:pt x="218" y="155"/>
                    <a:pt x="218" y="155"/>
                  </a:cubicBezTo>
                  <a:cubicBezTo>
                    <a:pt x="219" y="155"/>
                    <a:pt x="218" y="153"/>
                    <a:pt x="219" y="153"/>
                  </a:cubicBezTo>
                  <a:cubicBezTo>
                    <a:pt x="220" y="152"/>
                    <a:pt x="221" y="153"/>
                    <a:pt x="221" y="153"/>
                  </a:cubicBezTo>
                  <a:cubicBezTo>
                    <a:pt x="223" y="151"/>
                    <a:pt x="223" y="149"/>
                    <a:pt x="226" y="150"/>
                  </a:cubicBezTo>
                  <a:cubicBezTo>
                    <a:pt x="224" y="149"/>
                    <a:pt x="226" y="144"/>
                    <a:pt x="222" y="144"/>
                  </a:cubicBezTo>
                  <a:cubicBezTo>
                    <a:pt x="220" y="143"/>
                    <a:pt x="221" y="147"/>
                    <a:pt x="220" y="147"/>
                  </a:cubicBezTo>
                  <a:cubicBezTo>
                    <a:pt x="219" y="147"/>
                    <a:pt x="219" y="145"/>
                    <a:pt x="218" y="146"/>
                  </a:cubicBezTo>
                  <a:cubicBezTo>
                    <a:pt x="217" y="146"/>
                    <a:pt x="216" y="147"/>
                    <a:pt x="217" y="147"/>
                  </a:cubicBezTo>
                  <a:cubicBezTo>
                    <a:pt x="216" y="147"/>
                    <a:pt x="215" y="145"/>
                    <a:pt x="214" y="146"/>
                  </a:cubicBezTo>
                  <a:cubicBezTo>
                    <a:pt x="212" y="146"/>
                    <a:pt x="211" y="148"/>
                    <a:pt x="208" y="147"/>
                  </a:cubicBezTo>
                  <a:cubicBezTo>
                    <a:pt x="207" y="147"/>
                    <a:pt x="207" y="148"/>
                    <a:pt x="207" y="149"/>
                  </a:cubicBezTo>
                  <a:cubicBezTo>
                    <a:pt x="202" y="148"/>
                    <a:pt x="197" y="149"/>
                    <a:pt x="193" y="148"/>
                  </a:cubicBezTo>
                  <a:cubicBezTo>
                    <a:pt x="193" y="148"/>
                    <a:pt x="193" y="146"/>
                    <a:pt x="193" y="146"/>
                  </a:cubicBezTo>
                  <a:cubicBezTo>
                    <a:pt x="192" y="145"/>
                    <a:pt x="189" y="146"/>
                    <a:pt x="188" y="144"/>
                  </a:cubicBezTo>
                  <a:cubicBezTo>
                    <a:pt x="191" y="138"/>
                    <a:pt x="189" y="134"/>
                    <a:pt x="188" y="127"/>
                  </a:cubicBezTo>
                  <a:cubicBezTo>
                    <a:pt x="191" y="126"/>
                    <a:pt x="196" y="122"/>
                    <a:pt x="198" y="124"/>
                  </a:cubicBezTo>
                  <a:cubicBezTo>
                    <a:pt x="200" y="123"/>
                    <a:pt x="197" y="123"/>
                    <a:pt x="199" y="120"/>
                  </a:cubicBezTo>
                  <a:cubicBezTo>
                    <a:pt x="203" y="120"/>
                    <a:pt x="203" y="113"/>
                    <a:pt x="204" y="111"/>
                  </a:cubicBezTo>
                  <a:cubicBezTo>
                    <a:pt x="204" y="111"/>
                    <a:pt x="206" y="112"/>
                    <a:pt x="206" y="111"/>
                  </a:cubicBezTo>
                  <a:cubicBezTo>
                    <a:pt x="206" y="109"/>
                    <a:pt x="202" y="108"/>
                    <a:pt x="204" y="106"/>
                  </a:cubicBezTo>
                  <a:cubicBezTo>
                    <a:pt x="202" y="107"/>
                    <a:pt x="199" y="105"/>
                    <a:pt x="197" y="106"/>
                  </a:cubicBezTo>
                  <a:cubicBezTo>
                    <a:pt x="194" y="106"/>
                    <a:pt x="191" y="108"/>
                    <a:pt x="188" y="108"/>
                  </a:cubicBezTo>
                  <a:cubicBezTo>
                    <a:pt x="187" y="106"/>
                    <a:pt x="186" y="115"/>
                    <a:pt x="187" y="113"/>
                  </a:cubicBezTo>
                  <a:cubicBezTo>
                    <a:pt x="186" y="115"/>
                    <a:pt x="185" y="112"/>
                    <a:pt x="185" y="113"/>
                  </a:cubicBezTo>
                  <a:cubicBezTo>
                    <a:pt x="184" y="114"/>
                    <a:pt x="185" y="116"/>
                    <a:pt x="185" y="117"/>
                  </a:cubicBezTo>
                  <a:cubicBezTo>
                    <a:pt x="185" y="118"/>
                    <a:pt x="182" y="120"/>
                    <a:pt x="180" y="122"/>
                  </a:cubicBezTo>
                  <a:cubicBezTo>
                    <a:pt x="177" y="126"/>
                    <a:pt x="177" y="128"/>
                    <a:pt x="172" y="128"/>
                  </a:cubicBezTo>
                  <a:cubicBezTo>
                    <a:pt x="172" y="130"/>
                    <a:pt x="174" y="131"/>
                    <a:pt x="172" y="131"/>
                  </a:cubicBezTo>
                  <a:cubicBezTo>
                    <a:pt x="170" y="132"/>
                    <a:pt x="172" y="133"/>
                    <a:pt x="171" y="134"/>
                  </a:cubicBezTo>
                  <a:cubicBezTo>
                    <a:pt x="170" y="134"/>
                    <a:pt x="169" y="133"/>
                    <a:pt x="168" y="134"/>
                  </a:cubicBezTo>
                  <a:cubicBezTo>
                    <a:pt x="168" y="134"/>
                    <a:pt x="169" y="136"/>
                    <a:pt x="168" y="136"/>
                  </a:cubicBezTo>
                  <a:cubicBezTo>
                    <a:pt x="168" y="136"/>
                    <a:pt x="167" y="136"/>
                    <a:pt x="167" y="136"/>
                  </a:cubicBezTo>
                  <a:cubicBezTo>
                    <a:pt x="166" y="138"/>
                    <a:pt x="168" y="141"/>
                    <a:pt x="166" y="141"/>
                  </a:cubicBezTo>
                  <a:cubicBezTo>
                    <a:pt x="167" y="142"/>
                    <a:pt x="169" y="143"/>
                    <a:pt x="167" y="143"/>
                  </a:cubicBezTo>
                  <a:cubicBezTo>
                    <a:pt x="169" y="145"/>
                    <a:pt x="170" y="147"/>
                    <a:pt x="173" y="147"/>
                  </a:cubicBezTo>
                  <a:cubicBezTo>
                    <a:pt x="173" y="149"/>
                    <a:pt x="174" y="150"/>
                    <a:pt x="175" y="150"/>
                  </a:cubicBezTo>
                  <a:cubicBezTo>
                    <a:pt x="175" y="151"/>
                    <a:pt x="174" y="151"/>
                    <a:pt x="173" y="153"/>
                  </a:cubicBezTo>
                  <a:cubicBezTo>
                    <a:pt x="172" y="154"/>
                    <a:pt x="173" y="155"/>
                    <a:pt x="172" y="156"/>
                  </a:cubicBezTo>
                  <a:cubicBezTo>
                    <a:pt x="171" y="157"/>
                    <a:pt x="169" y="157"/>
                    <a:pt x="167" y="157"/>
                  </a:cubicBezTo>
                  <a:cubicBezTo>
                    <a:pt x="167" y="162"/>
                    <a:pt x="163" y="164"/>
                    <a:pt x="164" y="170"/>
                  </a:cubicBezTo>
                  <a:cubicBezTo>
                    <a:pt x="159" y="169"/>
                    <a:pt x="160" y="176"/>
                    <a:pt x="157" y="176"/>
                  </a:cubicBezTo>
                  <a:cubicBezTo>
                    <a:pt x="156" y="176"/>
                    <a:pt x="156" y="176"/>
                    <a:pt x="155" y="176"/>
                  </a:cubicBezTo>
                  <a:cubicBezTo>
                    <a:pt x="154" y="177"/>
                    <a:pt x="155" y="178"/>
                    <a:pt x="154" y="179"/>
                  </a:cubicBezTo>
                  <a:cubicBezTo>
                    <a:pt x="152" y="179"/>
                    <a:pt x="150" y="177"/>
                    <a:pt x="148" y="180"/>
                  </a:cubicBezTo>
                  <a:cubicBezTo>
                    <a:pt x="146" y="180"/>
                    <a:pt x="148" y="175"/>
                    <a:pt x="147" y="173"/>
                  </a:cubicBezTo>
                  <a:cubicBezTo>
                    <a:pt x="146" y="172"/>
                    <a:pt x="146" y="169"/>
                    <a:pt x="145" y="169"/>
                  </a:cubicBezTo>
                  <a:cubicBezTo>
                    <a:pt x="142" y="169"/>
                    <a:pt x="146" y="166"/>
                    <a:pt x="141" y="166"/>
                  </a:cubicBezTo>
                  <a:cubicBezTo>
                    <a:pt x="143" y="163"/>
                    <a:pt x="139" y="162"/>
                    <a:pt x="139" y="161"/>
                  </a:cubicBezTo>
                  <a:cubicBezTo>
                    <a:pt x="139" y="160"/>
                    <a:pt x="140" y="160"/>
                    <a:pt x="140" y="158"/>
                  </a:cubicBezTo>
                  <a:cubicBezTo>
                    <a:pt x="140" y="155"/>
                    <a:pt x="137" y="154"/>
                    <a:pt x="134" y="151"/>
                  </a:cubicBezTo>
                  <a:cubicBezTo>
                    <a:pt x="131" y="153"/>
                    <a:pt x="132" y="158"/>
                    <a:pt x="126" y="157"/>
                  </a:cubicBezTo>
                  <a:cubicBezTo>
                    <a:pt x="126" y="158"/>
                    <a:pt x="127" y="158"/>
                    <a:pt x="128" y="158"/>
                  </a:cubicBezTo>
                  <a:cubicBezTo>
                    <a:pt x="128" y="160"/>
                    <a:pt x="127" y="159"/>
                    <a:pt x="126" y="160"/>
                  </a:cubicBezTo>
                  <a:cubicBezTo>
                    <a:pt x="124" y="160"/>
                    <a:pt x="125" y="164"/>
                    <a:pt x="122" y="163"/>
                  </a:cubicBezTo>
                  <a:cubicBezTo>
                    <a:pt x="117" y="164"/>
                    <a:pt x="119" y="158"/>
                    <a:pt x="113" y="160"/>
                  </a:cubicBezTo>
                  <a:cubicBezTo>
                    <a:pt x="113" y="159"/>
                    <a:pt x="114" y="159"/>
                    <a:pt x="115" y="158"/>
                  </a:cubicBezTo>
                  <a:cubicBezTo>
                    <a:pt x="117" y="155"/>
                    <a:pt x="112" y="153"/>
                    <a:pt x="115" y="151"/>
                  </a:cubicBezTo>
                  <a:cubicBezTo>
                    <a:pt x="115" y="150"/>
                    <a:pt x="113" y="150"/>
                    <a:pt x="112" y="149"/>
                  </a:cubicBezTo>
                  <a:cubicBezTo>
                    <a:pt x="111" y="148"/>
                    <a:pt x="113" y="147"/>
                    <a:pt x="113" y="147"/>
                  </a:cubicBezTo>
                  <a:cubicBezTo>
                    <a:pt x="113" y="145"/>
                    <a:pt x="111" y="145"/>
                    <a:pt x="111" y="144"/>
                  </a:cubicBezTo>
                  <a:cubicBezTo>
                    <a:pt x="111" y="143"/>
                    <a:pt x="112" y="136"/>
                    <a:pt x="111" y="141"/>
                  </a:cubicBezTo>
                  <a:cubicBezTo>
                    <a:pt x="109" y="140"/>
                    <a:pt x="110" y="138"/>
                    <a:pt x="112" y="138"/>
                  </a:cubicBezTo>
                  <a:cubicBezTo>
                    <a:pt x="110" y="134"/>
                    <a:pt x="116" y="133"/>
                    <a:pt x="113" y="133"/>
                  </a:cubicBezTo>
                  <a:cubicBezTo>
                    <a:pt x="113" y="131"/>
                    <a:pt x="116" y="132"/>
                    <a:pt x="117" y="130"/>
                  </a:cubicBezTo>
                  <a:cubicBezTo>
                    <a:pt x="117" y="129"/>
                    <a:pt x="118" y="130"/>
                    <a:pt x="118" y="130"/>
                  </a:cubicBezTo>
                  <a:cubicBezTo>
                    <a:pt x="119" y="130"/>
                    <a:pt x="119" y="128"/>
                    <a:pt x="120" y="128"/>
                  </a:cubicBezTo>
                  <a:cubicBezTo>
                    <a:pt x="121" y="128"/>
                    <a:pt x="121" y="126"/>
                    <a:pt x="121" y="124"/>
                  </a:cubicBezTo>
                  <a:cubicBezTo>
                    <a:pt x="124" y="125"/>
                    <a:pt x="125" y="124"/>
                    <a:pt x="125" y="122"/>
                  </a:cubicBezTo>
                  <a:cubicBezTo>
                    <a:pt x="128" y="121"/>
                    <a:pt x="126" y="126"/>
                    <a:pt x="131" y="124"/>
                  </a:cubicBezTo>
                  <a:cubicBezTo>
                    <a:pt x="131" y="123"/>
                    <a:pt x="129" y="123"/>
                    <a:pt x="128" y="123"/>
                  </a:cubicBezTo>
                  <a:cubicBezTo>
                    <a:pt x="132" y="120"/>
                    <a:pt x="135" y="122"/>
                    <a:pt x="138" y="118"/>
                  </a:cubicBezTo>
                  <a:cubicBezTo>
                    <a:pt x="138" y="118"/>
                    <a:pt x="137" y="117"/>
                    <a:pt x="138" y="116"/>
                  </a:cubicBezTo>
                  <a:cubicBezTo>
                    <a:pt x="138" y="116"/>
                    <a:pt x="140" y="117"/>
                    <a:pt x="140" y="116"/>
                  </a:cubicBezTo>
                  <a:cubicBezTo>
                    <a:pt x="141" y="115"/>
                    <a:pt x="140" y="113"/>
                    <a:pt x="140" y="113"/>
                  </a:cubicBezTo>
                  <a:cubicBezTo>
                    <a:pt x="140" y="112"/>
                    <a:pt x="143" y="111"/>
                    <a:pt x="144" y="110"/>
                  </a:cubicBezTo>
                  <a:cubicBezTo>
                    <a:pt x="144" y="109"/>
                    <a:pt x="143" y="107"/>
                    <a:pt x="144" y="106"/>
                  </a:cubicBezTo>
                  <a:cubicBezTo>
                    <a:pt x="144" y="105"/>
                    <a:pt x="145" y="107"/>
                    <a:pt x="146" y="107"/>
                  </a:cubicBezTo>
                  <a:cubicBezTo>
                    <a:pt x="145" y="107"/>
                    <a:pt x="148" y="101"/>
                    <a:pt x="147" y="101"/>
                  </a:cubicBezTo>
                  <a:cubicBezTo>
                    <a:pt x="150" y="104"/>
                    <a:pt x="150" y="99"/>
                    <a:pt x="153" y="98"/>
                  </a:cubicBezTo>
                  <a:cubicBezTo>
                    <a:pt x="153" y="96"/>
                    <a:pt x="155" y="95"/>
                    <a:pt x="153" y="95"/>
                  </a:cubicBezTo>
                  <a:cubicBezTo>
                    <a:pt x="153" y="93"/>
                    <a:pt x="156" y="94"/>
                    <a:pt x="157" y="91"/>
                  </a:cubicBezTo>
                  <a:cubicBezTo>
                    <a:pt x="157" y="90"/>
                    <a:pt x="159" y="90"/>
                    <a:pt x="160" y="90"/>
                  </a:cubicBezTo>
                  <a:cubicBezTo>
                    <a:pt x="160" y="89"/>
                    <a:pt x="160" y="88"/>
                    <a:pt x="159" y="88"/>
                  </a:cubicBezTo>
                  <a:cubicBezTo>
                    <a:pt x="162" y="85"/>
                    <a:pt x="164" y="85"/>
                    <a:pt x="167" y="84"/>
                  </a:cubicBezTo>
                  <a:cubicBezTo>
                    <a:pt x="169" y="83"/>
                    <a:pt x="167" y="83"/>
                    <a:pt x="168" y="80"/>
                  </a:cubicBezTo>
                  <a:cubicBezTo>
                    <a:pt x="169" y="79"/>
                    <a:pt x="172" y="78"/>
                    <a:pt x="172" y="76"/>
                  </a:cubicBezTo>
                  <a:cubicBezTo>
                    <a:pt x="172" y="73"/>
                    <a:pt x="175" y="77"/>
                    <a:pt x="175" y="73"/>
                  </a:cubicBezTo>
                  <a:cubicBezTo>
                    <a:pt x="180" y="71"/>
                    <a:pt x="185" y="75"/>
                    <a:pt x="185" y="68"/>
                  </a:cubicBezTo>
                  <a:cubicBezTo>
                    <a:pt x="187" y="69"/>
                    <a:pt x="192" y="67"/>
                    <a:pt x="195" y="69"/>
                  </a:cubicBezTo>
                  <a:cubicBezTo>
                    <a:pt x="197" y="68"/>
                    <a:pt x="197" y="67"/>
                    <a:pt x="198" y="65"/>
                  </a:cubicBezTo>
                  <a:cubicBezTo>
                    <a:pt x="201" y="64"/>
                    <a:pt x="204" y="69"/>
                    <a:pt x="204" y="64"/>
                  </a:cubicBezTo>
                  <a:cubicBezTo>
                    <a:pt x="206" y="65"/>
                    <a:pt x="206" y="67"/>
                    <a:pt x="208" y="68"/>
                  </a:cubicBezTo>
                  <a:cubicBezTo>
                    <a:pt x="210" y="67"/>
                    <a:pt x="209" y="64"/>
                    <a:pt x="213" y="65"/>
                  </a:cubicBezTo>
                  <a:cubicBezTo>
                    <a:pt x="213" y="67"/>
                    <a:pt x="212" y="68"/>
                    <a:pt x="212" y="69"/>
                  </a:cubicBezTo>
                  <a:cubicBezTo>
                    <a:pt x="213" y="70"/>
                    <a:pt x="218" y="64"/>
                    <a:pt x="221" y="67"/>
                  </a:cubicBezTo>
                  <a:cubicBezTo>
                    <a:pt x="223" y="68"/>
                    <a:pt x="222" y="66"/>
                    <a:pt x="224" y="67"/>
                  </a:cubicBezTo>
                  <a:cubicBezTo>
                    <a:pt x="226" y="67"/>
                    <a:pt x="229" y="69"/>
                    <a:pt x="232" y="68"/>
                  </a:cubicBezTo>
                  <a:cubicBezTo>
                    <a:pt x="231" y="68"/>
                    <a:pt x="233" y="71"/>
                    <a:pt x="232" y="71"/>
                  </a:cubicBezTo>
                  <a:cubicBezTo>
                    <a:pt x="232" y="72"/>
                    <a:pt x="230" y="71"/>
                    <a:pt x="230" y="71"/>
                  </a:cubicBezTo>
                  <a:cubicBezTo>
                    <a:pt x="229" y="72"/>
                    <a:pt x="230" y="74"/>
                    <a:pt x="227" y="74"/>
                  </a:cubicBezTo>
                  <a:cubicBezTo>
                    <a:pt x="229" y="77"/>
                    <a:pt x="236" y="74"/>
                    <a:pt x="239" y="74"/>
                  </a:cubicBezTo>
                  <a:cubicBezTo>
                    <a:pt x="241" y="73"/>
                    <a:pt x="241" y="76"/>
                    <a:pt x="241" y="76"/>
                  </a:cubicBezTo>
                  <a:cubicBezTo>
                    <a:pt x="242" y="77"/>
                    <a:pt x="245" y="75"/>
                    <a:pt x="245" y="77"/>
                  </a:cubicBezTo>
                  <a:cubicBezTo>
                    <a:pt x="253" y="75"/>
                    <a:pt x="255" y="82"/>
                    <a:pt x="260" y="80"/>
                  </a:cubicBezTo>
                  <a:cubicBezTo>
                    <a:pt x="259" y="83"/>
                    <a:pt x="264" y="81"/>
                    <a:pt x="264" y="84"/>
                  </a:cubicBezTo>
                  <a:cubicBezTo>
                    <a:pt x="267" y="84"/>
                    <a:pt x="272" y="84"/>
                    <a:pt x="268" y="87"/>
                  </a:cubicBezTo>
                  <a:cubicBezTo>
                    <a:pt x="271" y="87"/>
                    <a:pt x="273" y="87"/>
                    <a:pt x="275" y="88"/>
                  </a:cubicBezTo>
                  <a:cubicBezTo>
                    <a:pt x="276" y="88"/>
                    <a:pt x="275" y="90"/>
                    <a:pt x="275" y="90"/>
                  </a:cubicBezTo>
                  <a:cubicBezTo>
                    <a:pt x="276" y="91"/>
                    <a:pt x="278" y="90"/>
                    <a:pt x="279" y="90"/>
                  </a:cubicBezTo>
                  <a:cubicBezTo>
                    <a:pt x="280" y="95"/>
                    <a:pt x="280" y="96"/>
                    <a:pt x="279" y="101"/>
                  </a:cubicBezTo>
                  <a:cubicBezTo>
                    <a:pt x="277" y="98"/>
                    <a:pt x="275" y="102"/>
                    <a:pt x="272" y="102"/>
                  </a:cubicBezTo>
                  <a:cubicBezTo>
                    <a:pt x="269" y="102"/>
                    <a:pt x="264" y="99"/>
                    <a:pt x="261" y="102"/>
                  </a:cubicBezTo>
                  <a:cubicBezTo>
                    <a:pt x="260" y="102"/>
                    <a:pt x="261" y="100"/>
                    <a:pt x="260" y="100"/>
                  </a:cubicBezTo>
                  <a:cubicBezTo>
                    <a:pt x="259" y="99"/>
                    <a:pt x="258" y="101"/>
                    <a:pt x="258" y="101"/>
                  </a:cubicBezTo>
                  <a:cubicBezTo>
                    <a:pt x="257" y="101"/>
                    <a:pt x="256" y="98"/>
                    <a:pt x="255" y="98"/>
                  </a:cubicBezTo>
                  <a:cubicBezTo>
                    <a:pt x="254" y="98"/>
                    <a:pt x="250" y="102"/>
                    <a:pt x="251" y="97"/>
                  </a:cubicBezTo>
                  <a:cubicBezTo>
                    <a:pt x="247" y="99"/>
                    <a:pt x="248" y="97"/>
                    <a:pt x="244" y="97"/>
                  </a:cubicBezTo>
                  <a:cubicBezTo>
                    <a:pt x="243" y="99"/>
                    <a:pt x="245" y="100"/>
                    <a:pt x="246" y="100"/>
                  </a:cubicBezTo>
                  <a:cubicBezTo>
                    <a:pt x="248" y="99"/>
                    <a:pt x="248" y="101"/>
                    <a:pt x="250" y="101"/>
                  </a:cubicBezTo>
                  <a:cubicBezTo>
                    <a:pt x="247" y="103"/>
                    <a:pt x="250" y="102"/>
                    <a:pt x="251" y="103"/>
                  </a:cubicBezTo>
                  <a:cubicBezTo>
                    <a:pt x="251" y="104"/>
                    <a:pt x="250" y="105"/>
                    <a:pt x="251" y="106"/>
                  </a:cubicBezTo>
                  <a:cubicBezTo>
                    <a:pt x="251" y="106"/>
                    <a:pt x="253" y="107"/>
                    <a:pt x="253" y="108"/>
                  </a:cubicBezTo>
                  <a:cubicBezTo>
                    <a:pt x="253" y="109"/>
                    <a:pt x="256" y="112"/>
                    <a:pt x="255" y="116"/>
                  </a:cubicBezTo>
                  <a:cubicBezTo>
                    <a:pt x="256" y="120"/>
                    <a:pt x="263" y="117"/>
                    <a:pt x="264" y="121"/>
                  </a:cubicBezTo>
                  <a:cubicBezTo>
                    <a:pt x="265" y="120"/>
                    <a:pt x="265" y="118"/>
                    <a:pt x="267" y="118"/>
                  </a:cubicBezTo>
                  <a:cubicBezTo>
                    <a:pt x="267" y="115"/>
                    <a:pt x="262" y="116"/>
                    <a:pt x="260" y="114"/>
                  </a:cubicBezTo>
                  <a:cubicBezTo>
                    <a:pt x="259" y="109"/>
                    <a:pt x="267" y="112"/>
                    <a:pt x="270" y="111"/>
                  </a:cubicBezTo>
                  <a:cubicBezTo>
                    <a:pt x="269" y="114"/>
                    <a:pt x="275" y="111"/>
                    <a:pt x="273" y="115"/>
                  </a:cubicBezTo>
                  <a:cubicBezTo>
                    <a:pt x="276" y="116"/>
                    <a:pt x="278" y="111"/>
                    <a:pt x="278" y="116"/>
                  </a:cubicBezTo>
                  <a:cubicBezTo>
                    <a:pt x="281" y="115"/>
                    <a:pt x="278" y="110"/>
                    <a:pt x="275" y="110"/>
                  </a:cubicBezTo>
                  <a:cubicBezTo>
                    <a:pt x="276" y="108"/>
                    <a:pt x="279" y="107"/>
                    <a:pt x="281" y="107"/>
                  </a:cubicBezTo>
                  <a:cubicBezTo>
                    <a:pt x="283" y="105"/>
                    <a:pt x="283" y="102"/>
                    <a:pt x="285" y="101"/>
                  </a:cubicBezTo>
                  <a:cubicBezTo>
                    <a:pt x="290" y="100"/>
                    <a:pt x="292" y="102"/>
                    <a:pt x="296" y="103"/>
                  </a:cubicBezTo>
                  <a:cubicBezTo>
                    <a:pt x="297" y="103"/>
                    <a:pt x="296" y="101"/>
                    <a:pt x="298" y="101"/>
                  </a:cubicBezTo>
                  <a:cubicBezTo>
                    <a:pt x="298" y="99"/>
                    <a:pt x="297" y="98"/>
                    <a:pt x="296" y="97"/>
                  </a:cubicBezTo>
                  <a:cubicBezTo>
                    <a:pt x="297" y="93"/>
                    <a:pt x="297" y="89"/>
                    <a:pt x="297" y="84"/>
                  </a:cubicBezTo>
                  <a:cubicBezTo>
                    <a:pt x="300" y="84"/>
                    <a:pt x="304" y="84"/>
                    <a:pt x="306" y="86"/>
                  </a:cubicBezTo>
                  <a:cubicBezTo>
                    <a:pt x="307" y="86"/>
                    <a:pt x="310" y="86"/>
                    <a:pt x="310" y="89"/>
                  </a:cubicBezTo>
                  <a:cubicBezTo>
                    <a:pt x="307" y="89"/>
                    <a:pt x="305" y="89"/>
                    <a:pt x="303" y="89"/>
                  </a:cubicBezTo>
                  <a:cubicBezTo>
                    <a:pt x="303" y="90"/>
                    <a:pt x="303" y="91"/>
                    <a:pt x="303" y="93"/>
                  </a:cubicBezTo>
                  <a:cubicBezTo>
                    <a:pt x="305" y="96"/>
                    <a:pt x="306" y="92"/>
                    <a:pt x="308" y="94"/>
                  </a:cubicBezTo>
                  <a:cubicBezTo>
                    <a:pt x="310" y="94"/>
                    <a:pt x="305" y="95"/>
                    <a:pt x="305" y="95"/>
                  </a:cubicBezTo>
                  <a:cubicBezTo>
                    <a:pt x="304" y="97"/>
                    <a:pt x="308" y="95"/>
                    <a:pt x="310" y="97"/>
                  </a:cubicBezTo>
                  <a:cubicBezTo>
                    <a:pt x="312" y="96"/>
                    <a:pt x="314" y="95"/>
                    <a:pt x="315" y="93"/>
                  </a:cubicBezTo>
                  <a:cubicBezTo>
                    <a:pt x="316" y="92"/>
                    <a:pt x="317" y="92"/>
                    <a:pt x="317" y="90"/>
                  </a:cubicBezTo>
                  <a:cubicBezTo>
                    <a:pt x="322" y="92"/>
                    <a:pt x="321" y="87"/>
                    <a:pt x="326" y="88"/>
                  </a:cubicBezTo>
                  <a:cubicBezTo>
                    <a:pt x="328" y="87"/>
                    <a:pt x="329" y="86"/>
                    <a:pt x="328" y="84"/>
                  </a:cubicBezTo>
                  <a:cubicBezTo>
                    <a:pt x="330" y="84"/>
                    <a:pt x="332" y="83"/>
                    <a:pt x="332" y="82"/>
                  </a:cubicBezTo>
                  <a:cubicBezTo>
                    <a:pt x="337" y="86"/>
                    <a:pt x="340" y="80"/>
                    <a:pt x="345" y="80"/>
                  </a:cubicBezTo>
                  <a:cubicBezTo>
                    <a:pt x="345" y="81"/>
                    <a:pt x="345" y="83"/>
                    <a:pt x="345" y="84"/>
                  </a:cubicBezTo>
                  <a:cubicBezTo>
                    <a:pt x="349" y="85"/>
                    <a:pt x="353" y="84"/>
                    <a:pt x="356" y="83"/>
                  </a:cubicBezTo>
                  <a:cubicBezTo>
                    <a:pt x="356" y="83"/>
                    <a:pt x="358" y="83"/>
                    <a:pt x="358" y="83"/>
                  </a:cubicBezTo>
                  <a:cubicBezTo>
                    <a:pt x="358" y="83"/>
                    <a:pt x="358" y="82"/>
                    <a:pt x="358" y="82"/>
                  </a:cubicBezTo>
                  <a:cubicBezTo>
                    <a:pt x="360" y="81"/>
                    <a:pt x="364" y="82"/>
                    <a:pt x="364" y="78"/>
                  </a:cubicBezTo>
                  <a:cubicBezTo>
                    <a:pt x="367" y="80"/>
                    <a:pt x="371" y="80"/>
                    <a:pt x="373" y="83"/>
                  </a:cubicBezTo>
                  <a:cubicBezTo>
                    <a:pt x="375" y="82"/>
                    <a:pt x="376" y="81"/>
                    <a:pt x="377" y="80"/>
                  </a:cubicBezTo>
                  <a:cubicBezTo>
                    <a:pt x="377" y="78"/>
                    <a:pt x="372" y="77"/>
                    <a:pt x="376" y="76"/>
                  </a:cubicBezTo>
                  <a:cubicBezTo>
                    <a:pt x="374" y="73"/>
                    <a:pt x="368" y="74"/>
                    <a:pt x="370" y="68"/>
                  </a:cubicBezTo>
                  <a:cubicBezTo>
                    <a:pt x="372" y="69"/>
                    <a:pt x="372" y="71"/>
                    <a:pt x="376" y="71"/>
                  </a:cubicBezTo>
                  <a:cubicBezTo>
                    <a:pt x="377" y="72"/>
                    <a:pt x="379" y="75"/>
                    <a:pt x="383" y="74"/>
                  </a:cubicBezTo>
                  <a:cubicBezTo>
                    <a:pt x="383" y="74"/>
                    <a:pt x="384" y="73"/>
                    <a:pt x="384" y="73"/>
                  </a:cubicBezTo>
                  <a:cubicBezTo>
                    <a:pt x="385" y="72"/>
                    <a:pt x="386" y="75"/>
                    <a:pt x="386" y="73"/>
                  </a:cubicBezTo>
                  <a:cubicBezTo>
                    <a:pt x="388" y="72"/>
                    <a:pt x="388" y="75"/>
                    <a:pt x="389" y="75"/>
                  </a:cubicBezTo>
                  <a:cubicBezTo>
                    <a:pt x="390" y="76"/>
                    <a:pt x="393" y="74"/>
                    <a:pt x="392" y="77"/>
                  </a:cubicBezTo>
                  <a:cubicBezTo>
                    <a:pt x="396" y="76"/>
                    <a:pt x="397" y="78"/>
                    <a:pt x="401" y="76"/>
                  </a:cubicBezTo>
                  <a:cubicBezTo>
                    <a:pt x="400" y="80"/>
                    <a:pt x="405" y="77"/>
                    <a:pt x="404" y="81"/>
                  </a:cubicBezTo>
                  <a:cubicBezTo>
                    <a:pt x="406" y="81"/>
                    <a:pt x="407" y="82"/>
                    <a:pt x="407" y="83"/>
                  </a:cubicBezTo>
                  <a:cubicBezTo>
                    <a:pt x="411" y="83"/>
                    <a:pt x="412" y="85"/>
                    <a:pt x="416" y="84"/>
                  </a:cubicBezTo>
                  <a:cubicBezTo>
                    <a:pt x="418" y="77"/>
                    <a:pt x="409" y="81"/>
                    <a:pt x="411" y="74"/>
                  </a:cubicBezTo>
                  <a:cubicBezTo>
                    <a:pt x="410" y="72"/>
                    <a:pt x="409" y="74"/>
                    <a:pt x="407" y="74"/>
                  </a:cubicBezTo>
                  <a:cubicBezTo>
                    <a:pt x="407" y="71"/>
                    <a:pt x="409" y="70"/>
                    <a:pt x="409" y="67"/>
                  </a:cubicBezTo>
                  <a:cubicBezTo>
                    <a:pt x="409" y="65"/>
                    <a:pt x="407" y="66"/>
                    <a:pt x="406" y="65"/>
                  </a:cubicBezTo>
                  <a:cubicBezTo>
                    <a:pt x="406" y="65"/>
                    <a:pt x="408" y="63"/>
                    <a:pt x="406" y="63"/>
                  </a:cubicBezTo>
                  <a:cubicBezTo>
                    <a:pt x="406" y="61"/>
                    <a:pt x="409" y="62"/>
                    <a:pt x="409" y="58"/>
                  </a:cubicBezTo>
                  <a:cubicBezTo>
                    <a:pt x="411" y="58"/>
                    <a:pt x="410" y="55"/>
                    <a:pt x="413" y="56"/>
                  </a:cubicBezTo>
                  <a:cubicBezTo>
                    <a:pt x="413" y="54"/>
                    <a:pt x="414" y="52"/>
                    <a:pt x="417" y="53"/>
                  </a:cubicBezTo>
                  <a:cubicBezTo>
                    <a:pt x="416" y="47"/>
                    <a:pt x="421" y="49"/>
                    <a:pt x="420" y="44"/>
                  </a:cubicBezTo>
                  <a:cubicBezTo>
                    <a:pt x="426" y="43"/>
                    <a:pt x="428" y="46"/>
                    <a:pt x="432" y="47"/>
                  </a:cubicBezTo>
                  <a:cubicBezTo>
                    <a:pt x="432" y="48"/>
                    <a:pt x="432" y="50"/>
                    <a:pt x="433" y="50"/>
                  </a:cubicBezTo>
                  <a:cubicBezTo>
                    <a:pt x="433" y="52"/>
                    <a:pt x="431" y="51"/>
                    <a:pt x="430" y="51"/>
                  </a:cubicBezTo>
                  <a:cubicBezTo>
                    <a:pt x="430" y="56"/>
                    <a:pt x="432" y="58"/>
                    <a:pt x="430" y="62"/>
                  </a:cubicBezTo>
                  <a:cubicBezTo>
                    <a:pt x="431" y="63"/>
                    <a:pt x="431" y="64"/>
                    <a:pt x="432" y="64"/>
                  </a:cubicBezTo>
                  <a:cubicBezTo>
                    <a:pt x="433" y="65"/>
                    <a:pt x="433" y="66"/>
                    <a:pt x="434" y="65"/>
                  </a:cubicBezTo>
                  <a:cubicBezTo>
                    <a:pt x="432" y="68"/>
                    <a:pt x="434" y="74"/>
                    <a:pt x="432" y="77"/>
                  </a:cubicBezTo>
                  <a:cubicBezTo>
                    <a:pt x="431" y="81"/>
                    <a:pt x="435" y="80"/>
                    <a:pt x="436" y="82"/>
                  </a:cubicBezTo>
                  <a:cubicBezTo>
                    <a:pt x="435" y="91"/>
                    <a:pt x="430" y="97"/>
                    <a:pt x="423" y="100"/>
                  </a:cubicBezTo>
                  <a:cubicBezTo>
                    <a:pt x="423" y="102"/>
                    <a:pt x="428" y="100"/>
                    <a:pt x="429" y="102"/>
                  </a:cubicBezTo>
                  <a:cubicBezTo>
                    <a:pt x="431" y="102"/>
                    <a:pt x="431" y="98"/>
                    <a:pt x="434" y="98"/>
                  </a:cubicBezTo>
                  <a:cubicBezTo>
                    <a:pt x="434" y="99"/>
                    <a:pt x="433" y="100"/>
                    <a:pt x="433" y="102"/>
                  </a:cubicBezTo>
                  <a:cubicBezTo>
                    <a:pt x="435" y="102"/>
                    <a:pt x="434" y="100"/>
                    <a:pt x="436" y="100"/>
                  </a:cubicBezTo>
                  <a:cubicBezTo>
                    <a:pt x="437" y="100"/>
                    <a:pt x="436" y="98"/>
                    <a:pt x="437" y="97"/>
                  </a:cubicBezTo>
                  <a:cubicBezTo>
                    <a:pt x="437" y="97"/>
                    <a:pt x="439" y="98"/>
                    <a:pt x="439" y="97"/>
                  </a:cubicBezTo>
                  <a:cubicBezTo>
                    <a:pt x="440" y="96"/>
                    <a:pt x="439" y="95"/>
                    <a:pt x="439" y="94"/>
                  </a:cubicBezTo>
                  <a:cubicBezTo>
                    <a:pt x="440" y="94"/>
                    <a:pt x="441" y="94"/>
                    <a:pt x="443" y="94"/>
                  </a:cubicBezTo>
                  <a:cubicBezTo>
                    <a:pt x="441" y="90"/>
                    <a:pt x="446" y="87"/>
                    <a:pt x="443" y="84"/>
                  </a:cubicBezTo>
                  <a:cubicBezTo>
                    <a:pt x="443" y="83"/>
                    <a:pt x="445" y="84"/>
                    <a:pt x="445" y="82"/>
                  </a:cubicBezTo>
                  <a:cubicBezTo>
                    <a:pt x="445" y="81"/>
                    <a:pt x="444" y="81"/>
                    <a:pt x="443" y="81"/>
                  </a:cubicBezTo>
                  <a:cubicBezTo>
                    <a:pt x="442" y="78"/>
                    <a:pt x="447" y="80"/>
                    <a:pt x="449" y="80"/>
                  </a:cubicBezTo>
                  <a:cubicBezTo>
                    <a:pt x="447" y="79"/>
                    <a:pt x="448" y="75"/>
                    <a:pt x="445" y="76"/>
                  </a:cubicBezTo>
                  <a:cubicBezTo>
                    <a:pt x="442" y="78"/>
                    <a:pt x="441" y="73"/>
                    <a:pt x="440" y="76"/>
                  </a:cubicBezTo>
                  <a:cubicBezTo>
                    <a:pt x="438" y="74"/>
                    <a:pt x="439" y="72"/>
                    <a:pt x="439" y="69"/>
                  </a:cubicBezTo>
                  <a:cubicBezTo>
                    <a:pt x="439" y="69"/>
                    <a:pt x="441" y="69"/>
                    <a:pt x="441" y="69"/>
                  </a:cubicBezTo>
                  <a:cubicBezTo>
                    <a:pt x="442" y="68"/>
                    <a:pt x="441" y="64"/>
                    <a:pt x="441" y="63"/>
                  </a:cubicBezTo>
                  <a:cubicBezTo>
                    <a:pt x="442" y="61"/>
                    <a:pt x="440" y="63"/>
                    <a:pt x="440" y="63"/>
                  </a:cubicBezTo>
                  <a:cubicBezTo>
                    <a:pt x="438" y="61"/>
                    <a:pt x="439" y="59"/>
                    <a:pt x="438" y="56"/>
                  </a:cubicBezTo>
                  <a:cubicBezTo>
                    <a:pt x="443" y="58"/>
                    <a:pt x="441" y="53"/>
                    <a:pt x="444" y="53"/>
                  </a:cubicBezTo>
                  <a:cubicBezTo>
                    <a:pt x="444" y="51"/>
                    <a:pt x="444" y="49"/>
                    <a:pt x="444" y="47"/>
                  </a:cubicBezTo>
                  <a:cubicBezTo>
                    <a:pt x="448" y="45"/>
                    <a:pt x="446" y="50"/>
                    <a:pt x="446" y="53"/>
                  </a:cubicBezTo>
                  <a:cubicBezTo>
                    <a:pt x="446" y="54"/>
                    <a:pt x="449" y="52"/>
                    <a:pt x="449" y="54"/>
                  </a:cubicBezTo>
                  <a:cubicBezTo>
                    <a:pt x="449" y="54"/>
                    <a:pt x="447" y="55"/>
                    <a:pt x="447" y="55"/>
                  </a:cubicBezTo>
                  <a:cubicBezTo>
                    <a:pt x="448" y="58"/>
                    <a:pt x="451" y="59"/>
                    <a:pt x="454" y="61"/>
                  </a:cubicBezTo>
                  <a:cubicBezTo>
                    <a:pt x="457" y="61"/>
                    <a:pt x="454" y="57"/>
                    <a:pt x="453" y="57"/>
                  </a:cubicBezTo>
                  <a:cubicBezTo>
                    <a:pt x="455" y="55"/>
                    <a:pt x="458" y="55"/>
                    <a:pt x="462" y="55"/>
                  </a:cubicBezTo>
                  <a:cubicBezTo>
                    <a:pt x="461" y="54"/>
                    <a:pt x="459" y="54"/>
                    <a:pt x="458" y="54"/>
                  </a:cubicBezTo>
                  <a:cubicBezTo>
                    <a:pt x="459" y="50"/>
                    <a:pt x="456" y="51"/>
                    <a:pt x="457" y="48"/>
                  </a:cubicBezTo>
                  <a:cubicBezTo>
                    <a:pt x="458" y="51"/>
                    <a:pt x="465" y="47"/>
                    <a:pt x="464" y="51"/>
                  </a:cubicBezTo>
                  <a:cubicBezTo>
                    <a:pt x="465" y="52"/>
                    <a:pt x="466" y="50"/>
                    <a:pt x="466" y="50"/>
                  </a:cubicBezTo>
                  <a:cubicBezTo>
                    <a:pt x="468" y="51"/>
                    <a:pt x="466" y="52"/>
                    <a:pt x="467" y="53"/>
                  </a:cubicBezTo>
                  <a:cubicBezTo>
                    <a:pt x="468" y="53"/>
                    <a:pt x="469" y="52"/>
                    <a:pt x="470" y="53"/>
                  </a:cubicBezTo>
                  <a:cubicBezTo>
                    <a:pt x="472" y="55"/>
                    <a:pt x="476" y="52"/>
                    <a:pt x="473" y="56"/>
                  </a:cubicBezTo>
                  <a:cubicBezTo>
                    <a:pt x="475" y="56"/>
                    <a:pt x="477" y="56"/>
                    <a:pt x="479" y="56"/>
                  </a:cubicBezTo>
                  <a:cubicBezTo>
                    <a:pt x="479" y="55"/>
                    <a:pt x="474" y="54"/>
                    <a:pt x="478" y="53"/>
                  </a:cubicBezTo>
                  <a:cubicBezTo>
                    <a:pt x="477" y="51"/>
                    <a:pt x="476" y="51"/>
                    <a:pt x="474" y="50"/>
                  </a:cubicBezTo>
                  <a:cubicBezTo>
                    <a:pt x="474" y="44"/>
                    <a:pt x="474" y="44"/>
                    <a:pt x="474" y="37"/>
                  </a:cubicBezTo>
                  <a:cubicBezTo>
                    <a:pt x="481" y="37"/>
                    <a:pt x="489" y="38"/>
                    <a:pt x="494" y="37"/>
                  </a:cubicBezTo>
                  <a:cubicBezTo>
                    <a:pt x="497" y="37"/>
                    <a:pt x="495" y="34"/>
                    <a:pt x="498" y="36"/>
                  </a:cubicBezTo>
                  <a:cubicBezTo>
                    <a:pt x="502" y="34"/>
                    <a:pt x="499" y="31"/>
                    <a:pt x="500" y="28"/>
                  </a:cubicBezTo>
                  <a:cubicBezTo>
                    <a:pt x="503" y="28"/>
                    <a:pt x="505" y="28"/>
                    <a:pt x="506" y="27"/>
                  </a:cubicBezTo>
                  <a:cubicBezTo>
                    <a:pt x="508" y="24"/>
                    <a:pt x="511" y="23"/>
                    <a:pt x="513" y="21"/>
                  </a:cubicBezTo>
                  <a:cubicBezTo>
                    <a:pt x="525" y="19"/>
                    <a:pt x="538" y="18"/>
                    <a:pt x="547" y="14"/>
                  </a:cubicBezTo>
                  <a:cubicBezTo>
                    <a:pt x="549" y="12"/>
                    <a:pt x="550" y="16"/>
                    <a:pt x="550" y="16"/>
                  </a:cubicBezTo>
                  <a:cubicBezTo>
                    <a:pt x="550" y="16"/>
                    <a:pt x="552" y="13"/>
                    <a:pt x="551" y="13"/>
                  </a:cubicBezTo>
                  <a:cubicBezTo>
                    <a:pt x="553" y="13"/>
                    <a:pt x="551" y="15"/>
                    <a:pt x="552" y="16"/>
                  </a:cubicBezTo>
                  <a:cubicBezTo>
                    <a:pt x="553" y="17"/>
                    <a:pt x="555" y="16"/>
                    <a:pt x="555" y="17"/>
                  </a:cubicBezTo>
                  <a:cubicBezTo>
                    <a:pt x="556" y="17"/>
                    <a:pt x="554" y="15"/>
                    <a:pt x="556" y="15"/>
                  </a:cubicBezTo>
                  <a:cubicBezTo>
                    <a:pt x="558" y="14"/>
                    <a:pt x="562" y="15"/>
                    <a:pt x="562" y="11"/>
                  </a:cubicBezTo>
                  <a:cubicBezTo>
                    <a:pt x="564" y="12"/>
                    <a:pt x="565" y="11"/>
                    <a:pt x="565" y="9"/>
                  </a:cubicBezTo>
                  <a:cubicBezTo>
                    <a:pt x="567" y="9"/>
                    <a:pt x="567" y="11"/>
                    <a:pt x="569" y="11"/>
                  </a:cubicBezTo>
                  <a:cubicBezTo>
                    <a:pt x="572" y="11"/>
                    <a:pt x="571" y="7"/>
                    <a:pt x="571" y="4"/>
                  </a:cubicBezTo>
                  <a:cubicBezTo>
                    <a:pt x="577" y="2"/>
                    <a:pt x="582" y="0"/>
                    <a:pt x="591" y="1"/>
                  </a:cubicBezTo>
                  <a:cubicBezTo>
                    <a:pt x="590" y="2"/>
                    <a:pt x="590" y="3"/>
                    <a:pt x="590" y="5"/>
                  </a:cubicBezTo>
                  <a:cubicBezTo>
                    <a:pt x="592" y="8"/>
                    <a:pt x="597" y="8"/>
                    <a:pt x="599" y="5"/>
                  </a:cubicBezTo>
                  <a:cubicBezTo>
                    <a:pt x="601" y="6"/>
                    <a:pt x="600" y="7"/>
                    <a:pt x="599" y="7"/>
                  </a:cubicBezTo>
                  <a:close/>
                  <a:moveTo>
                    <a:pt x="882" y="150"/>
                  </a:moveTo>
                  <a:cubicBezTo>
                    <a:pt x="882" y="149"/>
                    <a:pt x="880" y="149"/>
                    <a:pt x="879" y="148"/>
                  </a:cubicBezTo>
                  <a:cubicBezTo>
                    <a:pt x="875" y="147"/>
                    <a:pt x="875" y="150"/>
                    <a:pt x="879" y="149"/>
                  </a:cubicBezTo>
                  <a:cubicBezTo>
                    <a:pt x="880" y="150"/>
                    <a:pt x="880" y="150"/>
                    <a:pt x="882" y="150"/>
                  </a:cubicBezTo>
                  <a:close/>
                  <a:moveTo>
                    <a:pt x="254" y="239"/>
                  </a:moveTo>
                  <a:cubicBezTo>
                    <a:pt x="253" y="242"/>
                    <a:pt x="258" y="240"/>
                    <a:pt x="257" y="244"/>
                  </a:cubicBezTo>
                  <a:cubicBezTo>
                    <a:pt x="259" y="245"/>
                    <a:pt x="260" y="243"/>
                    <a:pt x="260" y="244"/>
                  </a:cubicBezTo>
                  <a:cubicBezTo>
                    <a:pt x="260" y="246"/>
                    <a:pt x="260" y="245"/>
                    <a:pt x="259" y="246"/>
                  </a:cubicBezTo>
                  <a:cubicBezTo>
                    <a:pt x="257" y="246"/>
                    <a:pt x="252" y="248"/>
                    <a:pt x="251" y="248"/>
                  </a:cubicBezTo>
                  <a:cubicBezTo>
                    <a:pt x="248" y="247"/>
                    <a:pt x="247" y="245"/>
                    <a:pt x="245" y="243"/>
                  </a:cubicBezTo>
                  <a:cubicBezTo>
                    <a:pt x="245" y="241"/>
                    <a:pt x="248" y="243"/>
                    <a:pt x="248" y="241"/>
                  </a:cubicBezTo>
                  <a:cubicBezTo>
                    <a:pt x="246" y="239"/>
                    <a:pt x="245" y="238"/>
                    <a:pt x="241" y="240"/>
                  </a:cubicBezTo>
                  <a:cubicBezTo>
                    <a:pt x="240" y="238"/>
                    <a:pt x="239" y="236"/>
                    <a:pt x="235" y="236"/>
                  </a:cubicBezTo>
                  <a:cubicBezTo>
                    <a:pt x="234" y="236"/>
                    <a:pt x="235" y="238"/>
                    <a:pt x="234" y="239"/>
                  </a:cubicBezTo>
                  <a:cubicBezTo>
                    <a:pt x="234" y="239"/>
                    <a:pt x="232" y="239"/>
                    <a:pt x="231" y="240"/>
                  </a:cubicBezTo>
                  <a:cubicBezTo>
                    <a:pt x="230" y="241"/>
                    <a:pt x="229" y="244"/>
                    <a:pt x="226" y="243"/>
                  </a:cubicBezTo>
                  <a:cubicBezTo>
                    <a:pt x="228" y="247"/>
                    <a:pt x="224" y="249"/>
                    <a:pt x="224" y="249"/>
                  </a:cubicBezTo>
                  <a:cubicBezTo>
                    <a:pt x="223" y="252"/>
                    <a:pt x="223" y="254"/>
                    <a:pt x="222" y="257"/>
                  </a:cubicBezTo>
                  <a:cubicBezTo>
                    <a:pt x="221" y="257"/>
                    <a:pt x="221" y="256"/>
                    <a:pt x="220" y="256"/>
                  </a:cubicBezTo>
                  <a:cubicBezTo>
                    <a:pt x="219" y="260"/>
                    <a:pt x="223" y="262"/>
                    <a:pt x="220" y="264"/>
                  </a:cubicBezTo>
                  <a:cubicBezTo>
                    <a:pt x="222" y="263"/>
                    <a:pt x="222" y="266"/>
                    <a:pt x="222" y="267"/>
                  </a:cubicBezTo>
                  <a:cubicBezTo>
                    <a:pt x="223" y="267"/>
                    <a:pt x="224" y="267"/>
                    <a:pt x="225" y="267"/>
                  </a:cubicBezTo>
                  <a:cubicBezTo>
                    <a:pt x="228" y="267"/>
                    <a:pt x="228" y="270"/>
                    <a:pt x="230" y="268"/>
                  </a:cubicBezTo>
                  <a:cubicBezTo>
                    <a:pt x="230" y="268"/>
                    <a:pt x="232" y="268"/>
                    <a:pt x="232" y="268"/>
                  </a:cubicBezTo>
                  <a:cubicBezTo>
                    <a:pt x="236" y="267"/>
                    <a:pt x="235" y="267"/>
                    <a:pt x="237" y="266"/>
                  </a:cubicBezTo>
                  <a:cubicBezTo>
                    <a:pt x="239" y="265"/>
                    <a:pt x="239" y="267"/>
                    <a:pt x="241" y="267"/>
                  </a:cubicBezTo>
                  <a:cubicBezTo>
                    <a:pt x="242" y="266"/>
                    <a:pt x="241" y="265"/>
                    <a:pt x="243" y="264"/>
                  </a:cubicBezTo>
                  <a:cubicBezTo>
                    <a:pt x="245" y="264"/>
                    <a:pt x="251" y="264"/>
                    <a:pt x="253" y="264"/>
                  </a:cubicBezTo>
                  <a:cubicBezTo>
                    <a:pt x="255" y="265"/>
                    <a:pt x="256" y="266"/>
                    <a:pt x="258" y="267"/>
                  </a:cubicBezTo>
                  <a:cubicBezTo>
                    <a:pt x="259" y="267"/>
                    <a:pt x="259" y="266"/>
                    <a:pt x="260" y="266"/>
                  </a:cubicBezTo>
                  <a:cubicBezTo>
                    <a:pt x="260" y="266"/>
                    <a:pt x="261" y="267"/>
                    <a:pt x="261" y="267"/>
                  </a:cubicBezTo>
                  <a:cubicBezTo>
                    <a:pt x="265" y="268"/>
                    <a:pt x="265" y="268"/>
                    <a:pt x="267" y="268"/>
                  </a:cubicBezTo>
                  <a:cubicBezTo>
                    <a:pt x="272" y="268"/>
                    <a:pt x="278" y="267"/>
                    <a:pt x="284" y="268"/>
                  </a:cubicBezTo>
                  <a:cubicBezTo>
                    <a:pt x="283" y="265"/>
                    <a:pt x="284" y="263"/>
                    <a:pt x="285" y="262"/>
                  </a:cubicBezTo>
                  <a:cubicBezTo>
                    <a:pt x="281" y="257"/>
                    <a:pt x="278" y="251"/>
                    <a:pt x="270" y="250"/>
                  </a:cubicBezTo>
                  <a:cubicBezTo>
                    <a:pt x="270" y="248"/>
                    <a:pt x="268" y="248"/>
                    <a:pt x="267" y="247"/>
                  </a:cubicBezTo>
                  <a:cubicBezTo>
                    <a:pt x="267" y="245"/>
                    <a:pt x="267" y="244"/>
                    <a:pt x="266" y="243"/>
                  </a:cubicBezTo>
                  <a:cubicBezTo>
                    <a:pt x="267" y="240"/>
                    <a:pt x="270" y="240"/>
                    <a:pt x="270" y="235"/>
                  </a:cubicBezTo>
                  <a:cubicBezTo>
                    <a:pt x="263" y="234"/>
                    <a:pt x="259" y="237"/>
                    <a:pt x="254" y="239"/>
                  </a:cubicBezTo>
                  <a:close/>
                  <a:moveTo>
                    <a:pt x="336" y="293"/>
                  </a:moveTo>
                  <a:cubicBezTo>
                    <a:pt x="334" y="293"/>
                    <a:pt x="333" y="293"/>
                    <a:pt x="334" y="294"/>
                  </a:cubicBezTo>
                  <a:cubicBezTo>
                    <a:pt x="336" y="292"/>
                    <a:pt x="341" y="292"/>
                    <a:pt x="343" y="292"/>
                  </a:cubicBezTo>
                  <a:cubicBezTo>
                    <a:pt x="343" y="291"/>
                    <a:pt x="342" y="289"/>
                    <a:pt x="343" y="289"/>
                  </a:cubicBezTo>
                  <a:cubicBezTo>
                    <a:pt x="343" y="289"/>
                    <a:pt x="345" y="291"/>
                    <a:pt x="345" y="290"/>
                  </a:cubicBezTo>
                  <a:cubicBezTo>
                    <a:pt x="345" y="288"/>
                    <a:pt x="345" y="285"/>
                    <a:pt x="345" y="282"/>
                  </a:cubicBezTo>
                  <a:cubicBezTo>
                    <a:pt x="344" y="280"/>
                    <a:pt x="342" y="280"/>
                    <a:pt x="341" y="279"/>
                  </a:cubicBezTo>
                  <a:cubicBezTo>
                    <a:pt x="341" y="278"/>
                    <a:pt x="342" y="277"/>
                    <a:pt x="341" y="276"/>
                  </a:cubicBezTo>
                  <a:cubicBezTo>
                    <a:pt x="341" y="274"/>
                    <a:pt x="337" y="273"/>
                    <a:pt x="340" y="273"/>
                  </a:cubicBezTo>
                  <a:cubicBezTo>
                    <a:pt x="343" y="273"/>
                    <a:pt x="345" y="273"/>
                    <a:pt x="347" y="273"/>
                  </a:cubicBezTo>
                  <a:cubicBezTo>
                    <a:pt x="348" y="268"/>
                    <a:pt x="345" y="268"/>
                    <a:pt x="345" y="267"/>
                  </a:cubicBezTo>
                  <a:cubicBezTo>
                    <a:pt x="345" y="264"/>
                    <a:pt x="342" y="265"/>
                    <a:pt x="341" y="263"/>
                  </a:cubicBezTo>
                  <a:cubicBezTo>
                    <a:pt x="342" y="263"/>
                    <a:pt x="343" y="262"/>
                    <a:pt x="343" y="261"/>
                  </a:cubicBezTo>
                  <a:cubicBezTo>
                    <a:pt x="339" y="262"/>
                    <a:pt x="338" y="260"/>
                    <a:pt x="336" y="260"/>
                  </a:cubicBezTo>
                  <a:cubicBezTo>
                    <a:pt x="336" y="253"/>
                    <a:pt x="328" y="255"/>
                    <a:pt x="328" y="249"/>
                  </a:cubicBezTo>
                  <a:cubicBezTo>
                    <a:pt x="331" y="247"/>
                    <a:pt x="334" y="243"/>
                    <a:pt x="340" y="244"/>
                  </a:cubicBezTo>
                  <a:cubicBezTo>
                    <a:pt x="341" y="244"/>
                    <a:pt x="340" y="242"/>
                    <a:pt x="341" y="242"/>
                  </a:cubicBezTo>
                  <a:cubicBezTo>
                    <a:pt x="342" y="239"/>
                    <a:pt x="338" y="239"/>
                    <a:pt x="338" y="236"/>
                  </a:cubicBezTo>
                  <a:cubicBezTo>
                    <a:pt x="332" y="235"/>
                    <a:pt x="330" y="238"/>
                    <a:pt x="326" y="236"/>
                  </a:cubicBezTo>
                  <a:cubicBezTo>
                    <a:pt x="326" y="238"/>
                    <a:pt x="326" y="239"/>
                    <a:pt x="325" y="237"/>
                  </a:cubicBezTo>
                  <a:cubicBezTo>
                    <a:pt x="324" y="237"/>
                    <a:pt x="324" y="239"/>
                    <a:pt x="324" y="239"/>
                  </a:cubicBezTo>
                  <a:cubicBezTo>
                    <a:pt x="321" y="240"/>
                    <a:pt x="317" y="242"/>
                    <a:pt x="315" y="242"/>
                  </a:cubicBezTo>
                  <a:cubicBezTo>
                    <a:pt x="312" y="243"/>
                    <a:pt x="313" y="244"/>
                    <a:pt x="312" y="246"/>
                  </a:cubicBezTo>
                  <a:cubicBezTo>
                    <a:pt x="312" y="246"/>
                    <a:pt x="310" y="245"/>
                    <a:pt x="310" y="246"/>
                  </a:cubicBezTo>
                  <a:cubicBezTo>
                    <a:pt x="309" y="246"/>
                    <a:pt x="310" y="249"/>
                    <a:pt x="310" y="249"/>
                  </a:cubicBezTo>
                  <a:cubicBezTo>
                    <a:pt x="310" y="252"/>
                    <a:pt x="313" y="247"/>
                    <a:pt x="313" y="252"/>
                  </a:cubicBezTo>
                  <a:cubicBezTo>
                    <a:pt x="313" y="253"/>
                    <a:pt x="314" y="253"/>
                    <a:pt x="314" y="254"/>
                  </a:cubicBezTo>
                  <a:cubicBezTo>
                    <a:pt x="313" y="258"/>
                    <a:pt x="315" y="260"/>
                    <a:pt x="315" y="261"/>
                  </a:cubicBezTo>
                  <a:cubicBezTo>
                    <a:pt x="316" y="262"/>
                    <a:pt x="316" y="262"/>
                    <a:pt x="317" y="263"/>
                  </a:cubicBezTo>
                  <a:cubicBezTo>
                    <a:pt x="317" y="263"/>
                    <a:pt x="318" y="267"/>
                    <a:pt x="318" y="267"/>
                  </a:cubicBezTo>
                  <a:cubicBezTo>
                    <a:pt x="319" y="270"/>
                    <a:pt x="319" y="269"/>
                    <a:pt x="320" y="272"/>
                  </a:cubicBezTo>
                  <a:cubicBezTo>
                    <a:pt x="321" y="273"/>
                    <a:pt x="320" y="274"/>
                    <a:pt x="320" y="275"/>
                  </a:cubicBezTo>
                  <a:cubicBezTo>
                    <a:pt x="321" y="276"/>
                    <a:pt x="323" y="276"/>
                    <a:pt x="323" y="279"/>
                  </a:cubicBezTo>
                  <a:cubicBezTo>
                    <a:pt x="318" y="277"/>
                    <a:pt x="321" y="284"/>
                    <a:pt x="319" y="284"/>
                  </a:cubicBezTo>
                  <a:cubicBezTo>
                    <a:pt x="324" y="285"/>
                    <a:pt x="324" y="293"/>
                    <a:pt x="330" y="289"/>
                  </a:cubicBezTo>
                  <a:cubicBezTo>
                    <a:pt x="325" y="294"/>
                    <a:pt x="335" y="290"/>
                    <a:pt x="336" y="293"/>
                  </a:cubicBezTo>
                  <a:close/>
                  <a:moveTo>
                    <a:pt x="371" y="239"/>
                  </a:moveTo>
                  <a:cubicBezTo>
                    <a:pt x="370" y="239"/>
                    <a:pt x="370" y="241"/>
                    <a:pt x="370" y="242"/>
                  </a:cubicBezTo>
                  <a:cubicBezTo>
                    <a:pt x="369" y="243"/>
                    <a:pt x="367" y="243"/>
                    <a:pt x="366" y="244"/>
                  </a:cubicBezTo>
                  <a:cubicBezTo>
                    <a:pt x="367" y="245"/>
                    <a:pt x="370" y="248"/>
                    <a:pt x="370" y="249"/>
                  </a:cubicBezTo>
                  <a:cubicBezTo>
                    <a:pt x="370" y="249"/>
                    <a:pt x="368" y="249"/>
                    <a:pt x="368" y="250"/>
                  </a:cubicBezTo>
                  <a:cubicBezTo>
                    <a:pt x="369" y="251"/>
                    <a:pt x="372" y="251"/>
                    <a:pt x="373" y="253"/>
                  </a:cubicBezTo>
                  <a:cubicBezTo>
                    <a:pt x="373" y="251"/>
                    <a:pt x="375" y="251"/>
                    <a:pt x="376" y="250"/>
                  </a:cubicBezTo>
                  <a:cubicBezTo>
                    <a:pt x="377" y="247"/>
                    <a:pt x="374" y="247"/>
                    <a:pt x="373" y="244"/>
                  </a:cubicBezTo>
                  <a:cubicBezTo>
                    <a:pt x="375" y="243"/>
                    <a:pt x="377" y="243"/>
                    <a:pt x="377" y="240"/>
                  </a:cubicBezTo>
                  <a:cubicBezTo>
                    <a:pt x="375" y="240"/>
                    <a:pt x="374" y="239"/>
                    <a:pt x="376" y="237"/>
                  </a:cubicBezTo>
                  <a:cubicBezTo>
                    <a:pt x="374" y="238"/>
                    <a:pt x="372" y="238"/>
                    <a:pt x="371" y="239"/>
                  </a:cubicBezTo>
                  <a:close/>
                  <a:moveTo>
                    <a:pt x="217" y="270"/>
                  </a:moveTo>
                  <a:cubicBezTo>
                    <a:pt x="216" y="275"/>
                    <a:pt x="225" y="272"/>
                    <a:pt x="225" y="270"/>
                  </a:cubicBezTo>
                  <a:cubicBezTo>
                    <a:pt x="222" y="269"/>
                    <a:pt x="220" y="269"/>
                    <a:pt x="217" y="270"/>
                  </a:cubicBezTo>
                  <a:close/>
                  <a:moveTo>
                    <a:pt x="244" y="489"/>
                  </a:moveTo>
                  <a:cubicBezTo>
                    <a:pt x="245" y="485"/>
                    <a:pt x="252" y="485"/>
                    <a:pt x="251" y="478"/>
                  </a:cubicBezTo>
                  <a:cubicBezTo>
                    <a:pt x="247" y="480"/>
                    <a:pt x="241" y="475"/>
                    <a:pt x="238" y="479"/>
                  </a:cubicBezTo>
                  <a:cubicBezTo>
                    <a:pt x="243" y="479"/>
                    <a:pt x="237" y="480"/>
                    <a:pt x="237" y="481"/>
                  </a:cubicBezTo>
                  <a:cubicBezTo>
                    <a:pt x="237" y="480"/>
                    <a:pt x="238" y="484"/>
                    <a:pt x="238" y="485"/>
                  </a:cubicBezTo>
                  <a:cubicBezTo>
                    <a:pt x="238" y="486"/>
                    <a:pt x="238" y="488"/>
                    <a:pt x="237" y="488"/>
                  </a:cubicBezTo>
                  <a:cubicBezTo>
                    <a:pt x="237" y="488"/>
                    <a:pt x="236" y="487"/>
                    <a:pt x="235" y="488"/>
                  </a:cubicBezTo>
                  <a:cubicBezTo>
                    <a:pt x="237" y="490"/>
                    <a:pt x="241" y="489"/>
                    <a:pt x="244" y="489"/>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6" name="Freeform 88"/>
            <p:cNvSpPr/>
            <p:nvPr/>
          </p:nvSpPr>
          <p:spPr bwMode="auto">
            <a:xfrm>
              <a:off x="9003889" y="1395262"/>
              <a:ext cx="55563" cy="30162"/>
            </a:xfrm>
            <a:custGeom>
              <a:avLst/>
              <a:gdLst>
                <a:gd name="T0" fmla="*/ 26 w 15"/>
                <a:gd name="T1" fmla="*/ 0 h 8"/>
                <a:gd name="T2" fmla="*/ 30 w 15"/>
                <a:gd name="T3" fmla="*/ 17 h 8"/>
                <a:gd name="T4" fmla="*/ 0 w 15"/>
                <a:gd name="T5" fmla="*/ 7 h 8"/>
                <a:gd name="T6" fmla="*/ 26 w 15"/>
                <a:gd name="T7" fmla="*/ 0 h 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 h="8">
                  <a:moveTo>
                    <a:pt x="11" y="0"/>
                  </a:moveTo>
                  <a:cubicBezTo>
                    <a:pt x="10" y="3"/>
                    <a:pt x="15" y="2"/>
                    <a:pt x="13" y="7"/>
                  </a:cubicBezTo>
                  <a:cubicBezTo>
                    <a:pt x="7" y="8"/>
                    <a:pt x="3" y="6"/>
                    <a:pt x="0" y="3"/>
                  </a:cubicBezTo>
                  <a:cubicBezTo>
                    <a:pt x="2" y="1"/>
                    <a:pt x="7" y="1"/>
                    <a:pt x="1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7" name="Freeform 89"/>
            <p:cNvSpPr>
              <a:spLocks noEditPoints="1"/>
            </p:cNvSpPr>
            <p:nvPr/>
          </p:nvSpPr>
          <p:spPr bwMode="auto">
            <a:xfrm>
              <a:off x="9116602" y="1447649"/>
              <a:ext cx="528638" cy="371475"/>
            </a:xfrm>
            <a:custGeom>
              <a:avLst/>
              <a:gdLst>
                <a:gd name="T0" fmla="*/ 33 w 141"/>
                <a:gd name="T1" fmla="*/ 14 h 99"/>
                <a:gd name="T2" fmla="*/ 43 w 141"/>
                <a:gd name="T3" fmla="*/ 12 h 99"/>
                <a:gd name="T4" fmla="*/ 43 w 141"/>
                <a:gd name="T5" fmla="*/ 17 h 99"/>
                <a:gd name="T6" fmla="*/ 43 w 141"/>
                <a:gd name="T7" fmla="*/ 28 h 99"/>
                <a:gd name="T8" fmla="*/ 52 w 141"/>
                <a:gd name="T9" fmla="*/ 50 h 99"/>
                <a:gd name="T10" fmla="*/ 71 w 141"/>
                <a:gd name="T11" fmla="*/ 14 h 99"/>
                <a:gd name="T12" fmla="*/ 97 w 141"/>
                <a:gd name="T13" fmla="*/ 12 h 99"/>
                <a:gd name="T14" fmla="*/ 113 w 141"/>
                <a:gd name="T15" fmla="*/ 38 h 99"/>
                <a:gd name="T16" fmla="*/ 132 w 141"/>
                <a:gd name="T17" fmla="*/ 33 h 99"/>
                <a:gd name="T18" fmla="*/ 161 w 141"/>
                <a:gd name="T19" fmla="*/ 31 h 99"/>
                <a:gd name="T20" fmla="*/ 170 w 141"/>
                <a:gd name="T21" fmla="*/ 43 h 99"/>
                <a:gd name="T22" fmla="*/ 182 w 141"/>
                <a:gd name="T23" fmla="*/ 47 h 99"/>
                <a:gd name="T24" fmla="*/ 189 w 141"/>
                <a:gd name="T25" fmla="*/ 50 h 99"/>
                <a:gd name="T26" fmla="*/ 213 w 141"/>
                <a:gd name="T27" fmla="*/ 54 h 99"/>
                <a:gd name="T28" fmla="*/ 236 w 141"/>
                <a:gd name="T29" fmla="*/ 66 h 99"/>
                <a:gd name="T30" fmla="*/ 243 w 141"/>
                <a:gd name="T31" fmla="*/ 76 h 99"/>
                <a:gd name="T32" fmla="*/ 260 w 141"/>
                <a:gd name="T33" fmla="*/ 90 h 99"/>
                <a:gd name="T34" fmla="*/ 248 w 141"/>
                <a:gd name="T35" fmla="*/ 111 h 99"/>
                <a:gd name="T36" fmla="*/ 274 w 141"/>
                <a:gd name="T37" fmla="*/ 113 h 99"/>
                <a:gd name="T38" fmla="*/ 279 w 141"/>
                <a:gd name="T39" fmla="*/ 128 h 99"/>
                <a:gd name="T40" fmla="*/ 302 w 141"/>
                <a:gd name="T41" fmla="*/ 130 h 99"/>
                <a:gd name="T42" fmla="*/ 316 w 141"/>
                <a:gd name="T43" fmla="*/ 144 h 99"/>
                <a:gd name="T44" fmla="*/ 321 w 141"/>
                <a:gd name="T45" fmla="*/ 156 h 99"/>
                <a:gd name="T46" fmla="*/ 307 w 141"/>
                <a:gd name="T47" fmla="*/ 175 h 99"/>
                <a:gd name="T48" fmla="*/ 288 w 141"/>
                <a:gd name="T49" fmla="*/ 173 h 99"/>
                <a:gd name="T50" fmla="*/ 272 w 141"/>
                <a:gd name="T51" fmla="*/ 156 h 99"/>
                <a:gd name="T52" fmla="*/ 257 w 141"/>
                <a:gd name="T53" fmla="*/ 170 h 99"/>
                <a:gd name="T54" fmla="*/ 276 w 141"/>
                <a:gd name="T55" fmla="*/ 180 h 99"/>
                <a:gd name="T56" fmla="*/ 288 w 141"/>
                <a:gd name="T57" fmla="*/ 201 h 99"/>
                <a:gd name="T58" fmla="*/ 279 w 141"/>
                <a:gd name="T59" fmla="*/ 220 h 99"/>
                <a:gd name="T60" fmla="*/ 243 w 141"/>
                <a:gd name="T61" fmla="*/ 206 h 99"/>
                <a:gd name="T62" fmla="*/ 255 w 141"/>
                <a:gd name="T63" fmla="*/ 220 h 99"/>
                <a:gd name="T64" fmla="*/ 269 w 141"/>
                <a:gd name="T65" fmla="*/ 227 h 99"/>
                <a:gd name="T66" fmla="*/ 255 w 141"/>
                <a:gd name="T67" fmla="*/ 227 h 99"/>
                <a:gd name="T68" fmla="*/ 224 w 141"/>
                <a:gd name="T69" fmla="*/ 217 h 99"/>
                <a:gd name="T70" fmla="*/ 208 w 141"/>
                <a:gd name="T71" fmla="*/ 208 h 99"/>
                <a:gd name="T72" fmla="*/ 198 w 141"/>
                <a:gd name="T73" fmla="*/ 194 h 99"/>
                <a:gd name="T74" fmla="*/ 182 w 141"/>
                <a:gd name="T75" fmla="*/ 163 h 99"/>
                <a:gd name="T76" fmla="*/ 184 w 141"/>
                <a:gd name="T77" fmla="*/ 156 h 99"/>
                <a:gd name="T78" fmla="*/ 191 w 141"/>
                <a:gd name="T79" fmla="*/ 144 h 99"/>
                <a:gd name="T80" fmla="*/ 198 w 141"/>
                <a:gd name="T81" fmla="*/ 130 h 99"/>
                <a:gd name="T82" fmla="*/ 191 w 141"/>
                <a:gd name="T83" fmla="*/ 113 h 99"/>
                <a:gd name="T84" fmla="*/ 179 w 141"/>
                <a:gd name="T85" fmla="*/ 106 h 99"/>
                <a:gd name="T86" fmla="*/ 170 w 141"/>
                <a:gd name="T87" fmla="*/ 106 h 99"/>
                <a:gd name="T88" fmla="*/ 161 w 141"/>
                <a:gd name="T89" fmla="*/ 102 h 99"/>
                <a:gd name="T90" fmla="*/ 137 w 141"/>
                <a:gd name="T91" fmla="*/ 78 h 99"/>
                <a:gd name="T92" fmla="*/ 116 w 141"/>
                <a:gd name="T93" fmla="*/ 83 h 99"/>
                <a:gd name="T94" fmla="*/ 97 w 141"/>
                <a:gd name="T95" fmla="*/ 83 h 99"/>
                <a:gd name="T96" fmla="*/ 73 w 141"/>
                <a:gd name="T97" fmla="*/ 83 h 99"/>
                <a:gd name="T98" fmla="*/ 33 w 141"/>
                <a:gd name="T99" fmla="*/ 76 h 99"/>
                <a:gd name="T100" fmla="*/ 12 w 141"/>
                <a:gd name="T101" fmla="*/ 64 h 99"/>
                <a:gd name="T102" fmla="*/ 7 w 141"/>
                <a:gd name="T103" fmla="*/ 50 h 99"/>
                <a:gd name="T104" fmla="*/ 9 w 141"/>
                <a:gd name="T105" fmla="*/ 38 h 99"/>
                <a:gd name="T106" fmla="*/ 215 w 141"/>
                <a:gd name="T107" fmla="*/ 161 h 99"/>
                <a:gd name="T108" fmla="*/ 229 w 141"/>
                <a:gd name="T109" fmla="*/ 149 h 99"/>
                <a:gd name="T110" fmla="*/ 215 w 141"/>
                <a:gd name="T111" fmla="*/ 161 h 9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1" h="99">
                  <a:moveTo>
                    <a:pt x="5" y="7"/>
                  </a:moveTo>
                  <a:cubicBezTo>
                    <a:pt x="8" y="10"/>
                    <a:pt x="12" y="3"/>
                    <a:pt x="14" y="6"/>
                  </a:cubicBezTo>
                  <a:cubicBezTo>
                    <a:pt x="15" y="6"/>
                    <a:pt x="14" y="4"/>
                    <a:pt x="15" y="3"/>
                  </a:cubicBezTo>
                  <a:cubicBezTo>
                    <a:pt x="16" y="3"/>
                    <a:pt x="17" y="5"/>
                    <a:pt x="18" y="5"/>
                  </a:cubicBezTo>
                  <a:cubicBezTo>
                    <a:pt x="20" y="4"/>
                    <a:pt x="20" y="0"/>
                    <a:pt x="23" y="3"/>
                  </a:cubicBezTo>
                  <a:cubicBezTo>
                    <a:pt x="23" y="9"/>
                    <a:pt x="20" y="5"/>
                    <a:pt x="18" y="7"/>
                  </a:cubicBezTo>
                  <a:cubicBezTo>
                    <a:pt x="18" y="8"/>
                    <a:pt x="21" y="8"/>
                    <a:pt x="21" y="8"/>
                  </a:cubicBezTo>
                  <a:cubicBezTo>
                    <a:pt x="20" y="10"/>
                    <a:pt x="19" y="10"/>
                    <a:pt x="18" y="12"/>
                  </a:cubicBezTo>
                  <a:cubicBezTo>
                    <a:pt x="18" y="13"/>
                    <a:pt x="19" y="14"/>
                    <a:pt x="20" y="15"/>
                  </a:cubicBezTo>
                  <a:cubicBezTo>
                    <a:pt x="20" y="17"/>
                    <a:pt x="19" y="21"/>
                    <a:pt x="22" y="21"/>
                  </a:cubicBezTo>
                  <a:cubicBezTo>
                    <a:pt x="25" y="20"/>
                    <a:pt x="22" y="14"/>
                    <a:pt x="23" y="12"/>
                  </a:cubicBezTo>
                  <a:cubicBezTo>
                    <a:pt x="29" y="13"/>
                    <a:pt x="28" y="8"/>
                    <a:pt x="30" y="6"/>
                  </a:cubicBezTo>
                  <a:cubicBezTo>
                    <a:pt x="32" y="9"/>
                    <a:pt x="35" y="3"/>
                    <a:pt x="36" y="7"/>
                  </a:cubicBezTo>
                  <a:cubicBezTo>
                    <a:pt x="38" y="7"/>
                    <a:pt x="38" y="4"/>
                    <a:pt x="41" y="5"/>
                  </a:cubicBezTo>
                  <a:cubicBezTo>
                    <a:pt x="40" y="9"/>
                    <a:pt x="44" y="10"/>
                    <a:pt x="47" y="10"/>
                  </a:cubicBezTo>
                  <a:cubicBezTo>
                    <a:pt x="45" y="14"/>
                    <a:pt x="46" y="14"/>
                    <a:pt x="48" y="16"/>
                  </a:cubicBezTo>
                  <a:cubicBezTo>
                    <a:pt x="50" y="15"/>
                    <a:pt x="51" y="15"/>
                    <a:pt x="52" y="16"/>
                  </a:cubicBezTo>
                  <a:cubicBezTo>
                    <a:pt x="55" y="17"/>
                    <a:pt x="55" y="14"/>
                    <a:pt x="56" y="14"/>
                  </a:cubicBezTo>
                  <a:cubicBezTo>
                    <a:pt x="57" y="13"/>
                    <a:pt x="60" y="15"/>
                    <a:pt x="60" y="13"/>
                  </a:cubicBezTo>
                  <a:cubicBezTo>
                    <a:pt x="63" y="14"/>
                    <a:pt x="64" y="14"/>
                    <a:pt x="68" y="13"/>
                  </a:cubicBezTo>
                  <a:cubicBezTo>
                    <a:pt x="68" y="15"/>
                    <a:pt x="71" y="14"/>
                    <a:pt x="70" y="14"/>
                  </a:cubicBezTo>
                  <a:cubicBezTo>
                    <a:pt x="71" y="15"/>
                    <a:pt x="71" y="17"/>
                    <a:pt x="72" y="18"/>
                  </a:cubicBezTo>
                  <a:cubicBezTo>
                    <a:pt x="73" y="18"/>
                    <a:pt x="75" y="18"/>
                    <a:pt x="76" y="19"/>
                  </a:cubicBezTo>
                  <a:cubicBezTo>
                    <a:pt x="77" y="19"/>
                    <a:pt x="76" y="20"/>
                    <a:pt x="77" y="20"/>
                  </a:cubicBezTo>
                  <a:cubicBezTo>
                    <a:pt x="80" y="20"/>
                    <a:pt x="76" y="22"/>
                    <a:pt x="78" y="23"/>
                  </a:cubicBezTo>
                  <a:cubicBezTo>
                    <a:pt x="79" y="24"/>
                    <a:pt x="80" y="22"/>
                    <a:pt x="80" y="21"/>
                  </a:cubicBezTo>
                  <a:cubicBezTo>
                    <a:pt x="81" y="22"/>
                    <a:pt x="81" y="24"/>
                    <a:pt x="84" y="25"/>
                  </a:cubicBezTo>
                  <a:cubicBezTo>
                    <a:pt x="87" y="25"/>
                    <a:pt x="88" y="24"/>
                    <a:pt x="90" y="23"/>
                  </a:cubicBezTo>
                  <a:cubicBezTo>
                    <a:pt x="90" y="28"/>
                    <a:pt x="97" y="25"/>
                    <a:pt x="97" y="29"/>
                  </a:cubicBezTo>
                  <a:cubicBezTo>
                    <a:pt x="99" y="30"/>
                    <a:pt x="99" y="29"/>
                    <a:pt x="100" y="28"/>
                  </a:cubicBezTo>
                  <a:cubicBezTo>
                    <a:pt x="101" y="29"/>
                    <a:pt x="102" y="31"/>
                    <a:pt x="102" y="33"/>
                  </a:cubicBezTo>
                  <a:cubicBezTo>
                    <a:pt x="103" y="33"/>
                    <a:pt x="103" y="32"/>
                    <a:pt x="103" y="32"/>
                  </a:cubicBezTo>
                  <a:cubicBezTo>
                    <a:pt x="105" y="33"/>
                    <a:pt x="106" y="36"/>
                    <a:pt x="110" y="35"/>
                  </a:cubicBezTo>
                  <a:cubicBezTo>
                    <a:pt x="109" y="36"/>
                    <a:pt x="109" y="37"/>
                    <a:pt x="110" y="38"/>
                  </a:cubicBezTo>
                  <a:cubicBezTo>
                    <a:pt x="111" y="40"/>
                    <a:pt x="107" y="41"/>
                    <a:pt x="110" y="42"/>
                  </a:cubicBezTo>
                  <a:cubicBezTo>
                    <a:pt x="109" y="44"/>
                    <a:pt x="105" y="44"/>
                    <a:pt x="105" y="47"/>
                  </a:cubicBezTo>
                  <a:cubicBezTo>
                    <a:pt x="108" y="51"/>
                    <a:pt x="114" y="46"/>
                    <a:pt x="115" y="51"/>
                  </a:cubicBezTo>
                  <a:cubicBezTo>
                    <a:pt x="116" y="50"/>
                    <a:pt x="116" y="49"/>
                    <a:pt x="116" y="48"/>
                  </a:cubicBezTo>
                  <a:cubicBezTo>
                    <a:pt x="118" y="48"/>
                    <a:pt x="117" y="51"/>
                    <a:pt x="117" y="52"/>
                  </a:cubicBezTo>
                  <a:cubicBezTo>
                    <a:pt x="117" y="52"/>
                    <a:pt x="118" y="54"/>
                    <a:pt x="118" y="54"/>
                  </a:cubicBezTo>
                  <a:cubicBezTo>
                    <a:pt x="120" y="54"/>
                    <a:pt x="121" y="51"/>
                    <a:pt x="121" y="56"/>
                  </a:cubicBezTo>
                  <a:cubicBezTo>
                    <a:pt x="124" y="56"/>
                    <a:pt x="124" y="54"/>
                    <a:pt x="128" y="55"/>
                  </a:cubicBezTo>
                  <a:cubicBezTo>
                    <a:pt x="128" y="56"/>
                    <a:pt x="129" y="57"/>
                    <a:pt x="129" y="59"/>
                  </a:cubicBezTo>
                  <a:cubicBezTo>
                    <a:pt x="131" y="59"/>
                    <a:pt x="135" y="58"/>
                    <a:pt x="134" y="61"/>
                  </a:cubicBezTo>
                  <a:cubicBezTo>
                    <a:pt x="138" y="59"/>
                    <a:pt x="136" y="62"/>
                    <a:pt x="140" y="62"/>
                  </a:cubicBezTo>
                  <a:cubicBezTo>
                    <a:pt x="141" y="65"/>
                    <a:pt x="136" y="66"/>
                    <a:pt x="136" y="66"/>
                  </a:cubicBezTo>
                  <a:cubicBezTo>
                    <a:pt x="135" y="66"/>
                    <a:pt x="137" y="67"/>
                    <a:pt x="137" y="67"/>
                  </a:cubicBezTo>
                  <a:cubicBezTo>
                    <a:pt x="134" y="70"/>
                    <a:pt x="132" y="70"/>
                    <a:pt x="130" y="74"/>
                  </a:cubicBezTo>
                  <a:cubicBezTo>
                    <a:pt x="129" y="74"/>
                    <a:pt x="128" y="74"/>
                    <a:pt x="128" y="75"/>
                  </a:cubicBezTo>
                  <a:cubicBezTo>
                    <a:pt x="127" y="75"/>
                    <a:pt x="122" y="75"/>
                    <a:pt x="122" y="73"/>
                  </a:cubicBezTo>
                  <a:cubicBezTo>
                    <a:pt x="122" y="70"/>
                    <a:pt x="116" y="73"/>
                    <a:pt x="117" y="68"/>
                  </a:cubicBezTo>
                  <a:cubicBezTo>
                    <a:pt x="115" y="69"/>
                    <a:pt x="115" y="67"/>
                    <a:pt x="115" y="66"/>
                  </a:cubicBezTo>
                  <a:cubicBezTo>
                    <a:pt x="113" y="66"/>
                    <a:pt x="112" y="66"/>
                    <a:pt x="110" y="66"/>
                  </a:cubicBezTo>
                  <a:cubicBezTo>
                    <a:pt x="108" y="66"/>
                    <a:pt x="110" y="70"/>
                    <a:pt x="109" y="72"/>
                  </a:cubicBezTo>
                  <a:cubicBezTo>
                    <a:pt x="109" y="74"/>
                    <a:pt x="112" y="74"/>
                    <a:pt x="113" y="76"/>
                  </a:cubicBezTo>
                  <a:cubicBezTo>
                    <a:pt x="115" y="75"/>
                    <a:pt x="117" y="79"/>
                    <a:pt x="117" y="76"/>
                  </a:cubicBezTo>
                  <a:cubicBezTo>
                    <a:pt x="119" y="78"/>
                    <a:pt x="119" y="80"/>
                    <a:pt x="120" y="83"/>
                  </a:cubicBezTo>
                  <a:cubicBezTo>
                    <a:pt x="119" y="85"/>
                    <a:pt x="122" y="84"/>
                    <a:pt x="122" y="85"/>
                  </a:cubicBezTo>
                  <a:cubicBezTo>
                    <a:pt x="123" y="88"/>
                    <a:pt x="121" y="93"/>
                    <a:pt x="121" y="95"/>
                  </a:cubicBezTo>
                  <a:cubicBezTo>
                    <a:pt x="118" y="96"/>
                    <a:pt x="119" y="93"/>
                    <a:pt x="118" y="93"/>
                  </a:cubicBezTo>
                  <a:cubicBezTo>
                    <a:pt x="117" y="92"/>
                    <a:pt x="113" y="92"/>
                    <a:pt x="113" y="89"/>
                  </a:cubicBezTo>
                  <a:cubicBezTo>
                    <a:pt x="108" y="90"/>
                    <a:pt x="108" y="86"/>
                    <a:pt x="103" y="87"/>
                  </a:cubicBezTo>
                  <a:cubicBezTo>
                    <a:pt x="103" y="89"/>
                    <a:pt x="107" y="88"/>
                    <a:pt x="108" y="89"/>
                  </a:cubicBezTo>
                  <a:cubicBezTo>
                    <a:pt x="104" y="93"/>
                    <a:pt x="112" y="91"/>
                    <a:pt x="108" y="93"/>
                  </a:cubicBezTo>
                  <a:cubicBezTo>
                    <a:pt x="108" y="95"/>
                    <a:pt x="111" y="94"/>
                    <a:pt x="113" y="95"/>
                  </a:cubicBezTo>
                  <a:cubicBezTo>
                    <a:pt x="113" y="96"/>
                    <a:pt x="112" y="96"/>
                    <a:pt x="114" y="96"/>
                  </a:cubicBezTo>
                  <a:cubicBezTo>
                    <a:pt x="116" y="97"/>
                    <a:pt x="116" y="97"/>
                    <a:pt x="116" y="99"/>
                  </a:cubicBezTo>
                  <a:cubicBezTo>
                    <a:pt x="113" y="99"/>
                    <a:pt x="110" y="98"/>
                    <a:pt x="108" y="96"/>
                  </a:cubicBezTo>
                  <a:cubicBezTo>
                    <a:pt x="106" y="95"/>
                    <a:pt x="103" y="96"/>
                    <a:pt x="101" y="94"/>
                  </a:cubicBezTo>
                  <a:cubicBezTo>
                    <a:pt x="99" y="93"/>
                    <a:pt x="96" y="92"/>
                    <a:pt x="95" y="92"/>
                  </a:cubicBezTo>
                  <a:cubicBezTo>
                    <a:pt x="93" y="92"/>
                    <a:pt x="93" y="90"/>
                    <a:pt x="93" y="89"/>
                  </a:cubicBezTo>
                  <a:cubicBezTo>
                    <a:pt x="91" y="89"/>
                    <a:pt x="89" y="89"/>
                    <a:pt x="88" y="88"/>
                  </a:cubicBezTo>
                  <a:cubicBezTo>
                    <a:pt x="87" y="87"/>
                    <a:pt x="87" y="86"/>
                    <a:pt x="87" y="85"/>
                  </a:cubicBezTo>
                  <a:cubicBezTo>
                    <a:pt x="86" y="84"/>
                    <a:pt x="83" y="85"/>
                    <a:pt x="84" y="82"/>
                  </a:cubicBezTo>
                  <a:cubicBezTo>
                    <a:pt x="79" y="82"/>
                    <a:pt x="79" y="78"/>
                    <a:pt x="76" y="75"/>
                  </a:cubicBezTo>
                  <a:cubicBezTo>
                    <a:pt x="77" y="75"/>
                    <a:pt x="76" y="71"/>
                    <a:pt x="77" y="69"/>
                  </a:cubicBezTo>
                  <a:cubicBezTo>
                    <a:pt x="77" y="69"/>
                    <a:pt x="79" y="70"/>
                    <a:pt x="80" y="69"/>
                  </a:cubicBezTo>
                  <a:cubicBezTo>
                    <a:pt x="80" y="69"/>
                    <a:pt x="78" y="67"/>
                    <a:pt x="78" y="66"/>
                  </a:cubicBezTo>
                  <a:cubicBezTo>
                    <a:pt x="78" y="66"/>
                    <a:pt x="81" y="66"/>
                    <a:pt x="81" y="66"/>
                  </a:cubicBezTo>
                  <a:cubicBezTo>
                    <a:pt x="81" y="65"/>
                    <a:pt x="80" y="62"/>
                    <a:pt x="81" y="61"/>
                  </a:cubicBezTo>
                  <a:cubicBezTo>
                    <a:pt x="81" y="61"/>
                    <a:pt x="83" y="61"/>
                    <a:pt x="83" y="61"/>
                  </a:cubicBezTo>
                  <a:cubicBezTo>
                    <a:pt x="85" y="60"/>
                    <a:pt x="83" y="56"/>
                    <a:pt x="84" y="55"/>
                  </a:cubicBezTo>
                  <a:cubicBezTo>
                    <a:pt x="84" y="54"/>
                    <a:pt x="82" y="54"/>
                    <a:pt x="81" y="54"/>
                  </a:cubicBezTo>
                  <a:cubicBezTo>
                    <a:pt x="81" y="52"/>
                    <a:pt x="81" y="50"/>
                    <a:pt x="81" y="48"/>
                  </a:cubicBezTo>
                  <a:cubicBezTo>
                    <a:pt x="79" y="48"/>
                    <a:pt x="79" y="48"/>
                    <a:pt x="78" y="49"/>
                  </a:cubicBezTo>
                  <a:cubicBezTo>
                    <a:pt x="76" y="48"/>
                    <a:pt x="77" y="46"/>
                    <a:pt x="76" y="45"/>
                  </a:cubicBezTo>
                  <a:cubicBezTo>
                    <a:pt x="76" y="44"/>
                    <a:pt x="74" y="46"/>
                    <a:pt x="74" y="46"/>
                  </a:cubicBezTo>
                  <a:cubicBezTo>
                    <a:pt x="74" y="46"/>
                    <a:pt x="73" y="45"/>
                    <a:pt x="72" y="45"/>
                  </a:cubicBezTo>
                  <a:cubicBezTo>
                    <a:pt x="72" y="44"/>
                    <a:pt x="71" y="42"/>
                    <a:pt x="70" y="42"/>
                  </a:cubicBezTo>
                  <a:cubicBezTo>
                    <a:pt x="69" y="42"/>
                    <a:pt x="69" y="44"/>
                    <a:pt x="68" y="43"/>
                  </a:cubicBezTo>
                  <a:cubicBezTo>
                    <a:pt x="67" y="43"/>
                    <a:pt x="66" y="41"/>
                    <a:pt x="63" y="41"/>
                  </a:cubicBezTo>
                  <a:cubicBezTo>
                    <a:pt x="68" y="36"/>
                    <a:pt x="57" y="39"/>
                    <a:pt x="58" y="33"/>
                  </a:cubicBezTo>
                  <a:cubicBezTo>
                    <a:pt x="55" y="33"/>
                    <a:pt x="52" y="33"/>
                    <a:pt x="52" y="36"/>
                  </a:cubicBezTo>
                  <a:cubicBezTo>
                    <a:pt x="51" y="38"/>
                    <a:pt x="49" y="35"/>
                    <a:pt x="49" y="35"/>
                  </a:cubicBezTo>
                  <a:cubicBezTo>
                    <a:pt x="48" y="35"/>
                    <a:pt x="47" y="37"/>
                    <a:pt x="45" y="36"/>
                  </a:cubicBezTo>
                  <a:cubicBezTo>
                    <a:pt x="43" y="36"/>
                    <a:pt x="43" y="35"/>
                    <a:pt x="41" y="35"/>
                  </a:cubicBezTo>
                  <a:cubicBezTo>
                    <a:pt x="39" y="35"/>
                    <a:pt x="38" y="36"/>
                    <a:pt x="36" y="36"/>
                  </a:cubicBezTo>
                  <a:cubicBezTo>
                    <a:pt x="34" y="36"/>
                    <a:pt x="33" y="35"/>
                    <a:pt x="31" y="35"/>
                  </a:cubicBezTo>
                  <a:cubicBezTo>
                    <a:pt x="26" y="35"/>
                    <a:pt x="21" y="36"/>
                    <a:pt x="16" y="34"/>
                  </a:cubicBezTo>
                  <a:cubicBezTo>
                    <a:pt x="15" y="34"/>
                    <a:pt x="14" y="32"/>
                    <a:pt x="14" y="32"/>
                  </a:cubicBezTo>
                  <a:cubicBezTo>
                    <a:pt x="12" y="31"/>
                    <a:pt x="10" y="32"/>
                    <a:pt x="10" y="29"/>
                  </a:cubicBezTo>
                  <a:cubicBezTo>
                    <a:pt x="8" y="29"/>
                    <a:pt x="4" y="31"/>
                    <a:pt x="5" y="27"/>
                  </a:cubicBezTo>
                  <a:cubicBezTo>
                    <a:pt x="9" y="28"/>
                    <a:pt x="10" y="26"/>
                    <a:pt x="12" y="25"/>
                  </a:cubicBezTo>
                  <a:cubicBezTo>
                    <a:pt x="11" y="22"/>
                    <a:pt x="4" y="24"/>
                    <a:pt x="3" y="21"/>
                  </a:cubicBezTo>
                  <a:cubicBezTo>
                    <a:pt x="2" y="21"/>
                    <a:pt x="2" y="22"/>
                    <a:pt x="2" y="22"/>
                  </a:cubicBezTo>
                  <a:cubicBezTo>
                    <a:pt x="0" y="22"/>
                    <a:pt x="3" y="17"/>
                    <a:pt x="4" y="16"/>
                  </a:cubicBezTo>
                  <a:cubicBezTo>
                    <a:pt x="3" y="12"/>
                    <a:pt x="6" y="11"/>
                    <a:pt x="5" y="7"/>
                  </a:cubicBezTo>
                  <a:close/>
                  <a:moveTo>
                    <a:pt x="91" y="68"/>
                  </a:moveTo>
                  <a:cubicBezTo>
                    <a:pt x="92" y="66"/>
                    <a:pt x="97" y="68"/>
                    <a:pt x="100" y="67"/>
                  </a:cubicBezTo>
                  <a:cubicBezTo>
                    <a:pt x="100" y="65"/>
                    <a:pt x="98" y="65"/>
                    <a:pt x="97" y="63"/>
                  </a:cubicBezTo>
                  <a:cubicBezTo>
                    <a:pt x="96" y="62"/>
                    <a:pt x="93" y="63"/>
                    <a:pt x="90" y="61"/>
                  </a:cubicBezTo>
                  <a:cubicBezTo>
                    <a:pt x="91" y="63"/>
                    <a:pt x="89" y="68"/>
                    <a:pt x="91" y="68"/>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8" name="Freeform 90"/>
            <p:cNvSpPr/>
            <p:nvPr/>
          </p:nvSpPr>
          <p:spPr bwMode="auto">
            <a:xfrm>
              <a:off x="8594314" y="1466699"/>
              <a:ext cx="330200" cy="165100"/>
            </a:xfrm>
            <a:custGeom>
              <a:avLst/>
              <a:gdLst>
                <a:gd name="T0" fmla="*/ 24 w 88"/>
                <a:gd name="T1" fmla="*/ 80 h 44"/>
                <a:gd name="T2" fmla="*/ 26 w 88"/>
                <a:gd name="T3" fmla="*/ 71 h 44"/>
                <a:gd name="T4" fmla="*/ 38 w 88"/>
                <a:gd name="T5" fmla="*/ 69 h 44"/>
                <a:gd name="T6" fmla="*/ 43 w 88"/>
                <a:gd name="T7" fmla="*/ 66 h 44"/>
                <a:gd name="T8" fmla="*/ 73 w 88"/>
                <a:gd name="T9" fmla="*/ 64 h 44"/>
                <a:gd name="T10" fmla="*/ 43 w 88"/>
                <a:gd name="T11" fmla="*/ 59 h 44"/>
                <a:gd name="T12" fmla="*/ 40 w 88"/>
                <a:gd name="T13" fmla="*/ 57 h 44"/>
                <a:gd name="T14" fmla="*/ 33 w 88"/>
                <a:gd name="T15" fmla="*/ 59 h 44"/>
                <a:gd name="T16" fmla="*/ 17 w 88"/>
                <a:gd name="T17" fmla="*/ 57 h 44"/>
                <a:gd name="T18" fmla="*/ 31 w 88"/>
                <a:gd name="T19" fmla="*/ 47 h 44"/>
                <a:gd name="T20" fmla="*/ 38 w 88"/>
                <a:gd name="T21" fmla="*/ 47 h 44"/>
                <a:gd name="T22" fmla="*/ 7 w 88"/>
                <a:gd name="T23" fmla="*/ 40 h 44"/>
                <a:gd name="T24" fmla="*/ 2 w 88"/>
                <a:gd name="T25" fmla="*/ 33 h 44"/>
                <a:gd name="T26" fmla="*/ 17 w 88"/>
                <a:gd name="T27" fmla="*/ 21 h 44"/>
                <a:gd name="T28" fmla="*/ 17 w 88"/>
                <a:gd name="T29" fmla="*/ 19 h 44"/>
                <a:gd name="T30" fmla="*/ 43 w 88"/>
                <a:gd name="T31" fmla="*/ 7 h 44"/>
                <a:gd name="T32" fmla="*/ 52 w 88"/>
                <a:gd name="T33" fmla="*/ 2 h 44"/>
                <a:gd name="T34" fmla="*/ 57 w 88"/>
                <a:gd name="T35" fmla="*/ 5 h 44"/>
                <a:gd name="T36" fmla="*/ 64 w 88"/>
                <a:gd name="T37" fmla="*/ 17 h 44"/>
                <a:gd name="T38" fmla="*/ 57 w 88"/>
                <a:gd name="T39" fmla="*/ 19 h 44"/>
                <a:gd name="T40" fmla="*/ 64 w 88"/>
                <a:gd name="T41" fmla="*/ 21 h 44"/>
                <a:gd name="T42" fmla="*/ 66 w 88"/>
                <a:gd name="T43" fmla="*/ 17 h 44"/>
                <a:gd name="T44" fmla="*/ 83 w 88"/>
                <a:gd name="T45" fmla="*/ 12 h 44"/>
                <a:gd name="T46" fmla="*/ 90 w 88"/>
                <a:gd name="T47" fmla="*/ 26 h 44"/>
                <a:gd name="T48" fmla="*/ 102 w 88"/>
                <a:gd name="T49" fmla="*/ 21 h 44"/>
                <a:gd name="T50" fmla="*/ 111 w 88"/>
                <a:gd name="T51" fmla="*/ 12 h 44"/>
                <a:gd name="T52" fmla="*/ 118 w 88"/>
                <a:gd name="T53" fmla="*/ 17 h 44"/>
                <a:gd name="T54" fmla="*/ 121 w 88"/>
                <a:gd name="T55" fmla="*/ 26 h 44"/>
                <a:gd name="T56" fmla="*/ 128 w 88"/>
                <a:gd name="T57" fmla="*/ 38 h 44"/>
                <a:gd name="T58" fmla="*/ 137 w 88"/>
                <a:gd name="T59" fmla="*/ 31 h 44"/>
                <a:gd name="T60" fmla="*/ 130 w 88"/>
                <a:gd name="T61" fmla="*/ 24 h 44"/>
                <a:gd name="T62" fmla="*/ 130 w 88"/>
                <a:gd name="T63" fmla="*/ 7 h 44"/>
                <a:gd name="T64" fmla="*/ 142 w 88"/>
                <a:gd name="T65" fmla="*/ 5 h 44"/>
                <a:gd name="T66" fmla="*/ 151 w 88"/>
                <a:gd name="T67" fmla="*/ 24 h 44"/>
                <a:gd name="T68" fmla="*/ 161 w 88"/>
                <a:gd name="T69" fmla="*/ 31 h 44"/>
                <a:gd name="T70" fmla="*/ 165 w 88"/>
                <a:gd name="T71" fmla="*/ 38 h 44"/>
                <a:gd name="T72" fmla="*/ 163 w 88"/>
                <a:gd name="T73" fmla="*/ 47 h 44"/>
                <a:gd name="T74" fmla="*/ 173 w 88"/>
                <a:gd name="T75" fmla="*/ 57 h 44"/>
                <a:gd name="T76" fmla="*/ 196 w 88"/>
                <a:gd name="T77" fmla="*/ 59 h 44"/>
                <a:gd name="T78" fmla="*/ 206 w 88"/>
                <a:gd name="T79" fmla="*/ 69 h 44"/>
                <a:gd name="T80" fmla="*/ 208 w 88"/>
                <a:gd name="T81" fmla="*/ 73 h 44"/>
                <a:gd name="T82" fmla="*/ 184 w 88"/>
                <a:gd name="T83" fmla="*/ 73 h 44"/>
                <a:gd name="T84" fmla="*/ 191 w 88"/>
                <a:gd name="T85" fmla="*/ 95 h 44"/>
                <a:gd name="T86" fmla="*/ 161 w 88"/>
                <a:gd name="T87" fmla="*/ 95 h 44"/>
                <a:gd name="T88" fmla="*/ 121 w 88"/>
                <a:gd name="T89" fmla="*/ 95 h 44"/>
                <a:gd name="T90" fmla="*/ 109 w 88"/>
                <a:gd name="T91" fmla="*/ 97 h 44"/>
                <a:gd name="T92" fmla="*/ 104 w 88"/>
                <a:gd name="T93" fmla="*/ 102 h 44"/>
                <a:gd name="T94" fmla="*/ 69 w 88"/>
                <a:gd name="T95" fmla="*/ 102 h 44"/>
                <a:gd name="T96" fmla="*/ 57 w 88"/>
                <a:gd name="T97" fmla="*/ 85 h 44"/>
                <a:gd name="T98" fmla="*/ 35 w 88"/>
                <a:gd name="T99" fmla="*/ 80 h 44"/>
                <a:gd name="T100" fmla="*/ 33 w 88"/>
                <a:gd name="T101" fmla="*/ 83 h 44"/>
                <a:gd name="T102" fmla="*/ 33 w 88"/>
                <a:gd name="T103" fmla="*/ 78 h 44"/>
                <a:gd name="T104" fmla="*/ 24 w 88"/>
                <a:gd name="T105" fmla="*/ 80 h 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8" h="44">
                  <a:moveTo>
                    <a:pt x="10" y="34"/>
                  </a:moveTo>
                  <a:cubicBezTo>
                    <a:pt x="8" y="34"/>
                    <a:pt x="10" y="30"/>
                    <a:pt x="11" y="30"/>
                  </a:cubicBezTo>
                  <a:cubicBezTo>
                    <a:pt x="12" y="28"/>
                    <a:pt x="14" y="29"/>
                    <a:pt x="16" y="29"/>
                  </a:cubicBezTo>
                  <a:cubicBezTo>
                    <a:pt x="17" y="29"/>
                    <a:pt x="17" y="28"/>
                    <a:pt x="18" y="28"/>
                  </a:cubicBezTo>
                  <a:cubicBezTo>
                    <a:pt x="23" y="27"/>
                    <a:pt x="28" y="29"/>
                    <a:pt x="31" y="27"/>
                  </a:cubicBezTo>
                  <a:cubicBezTo>
                    <a:pt x="30" y="24"/>
                    <a:pt x="23" y="27"/>
                    <a:pt x="18" y="25"/>
                  </a:cubicBezTo>
                  <a:cubicBezTo>
                    <a:pt x="18" y="25"/>
                    <a:pt x="17" y="24"/>
                    <a:pt x="17" y="24"/>
                  </a:cubicBezTo>
                  <a:cubicBezTo>
                    <a:pt x="16" y="24"/>
                    <a:pt x="15" y="26"/>
                    <a:pt x="14" y="25"/>
                  </a:cubicBezTo>
                  <a:cubicBezTo>
                    <a:pt x="11" y="25"/>
                    <a:pt x="9" y="24"/>
                    <a:pt x="7" y="24"/>
                  </a:cubicBezTo>
                  <a:cubicBezTo>
                    <a:pt x="4" y="21"/>
                    <a:pt x="12" y="22"/>
                    <a:pt x="13" y="20"/>
                  </a:cubicBezTo>
                  <a:cubicBezTo>
                    <a:pt x="13" y="17"/>
                    <a:pt x="15" y="19"/>
                    <a:pt x="16" y="20"/>
                  </a:cubicBezTo>
                  <a:cubicBezTo>
                    <a:pt x="16" y="13"/>
                    <a:pt x="9" y="19"/>
                    <a:pt x="3" y="17"/>
                  </a:cubicBezTo>
                  <a:cubicBezTo>
                    <a:pt x="0" y="16"/>
                    <a:pt x="5" y="14"/>
                    <a:pt x="1" y="14"/>
                  </a:cubicBezTo>
                  <a:cubicBezTo>
                    <a:pt x="2" y="12"/>
                    <a:pt x="2" y="8"/>
                    <a:pt x="7" y="9"/>
                  </a:cubicBezTo>
                  <a:cubicBezTo>
                    <a:pt x="8" y="9"/>
                    <a:pt x="7" y="8"/>
                    <a:pt x="7" y="8"/>
                  </a:cubicBezTo>
                  <a:cubicBezTo>
                    <a:pt x="9" y="5"/>
                    <a:pt x="14" y="4"/>
                    <a:pt x="18" y="3"/>
                  </a:cubicBezTo>
                  <a:cubicBezTo>
                    <a:pt x="20" y="2"/>
                    <a:pt x="20" y="0"/>
                    <a:pt x="22" y="1"/>
                  </a:cubicBezTo>
                  <a:cubicBezTo>
                    <a:pt x="22" y="2"/>
                    <a:pt x="23" y="2"/>
                    <a:pt x="24" y="2"/>
                  </a:cubicBezTo>
                  <a:cubicBezTo>
                    <a:pt x="24" y="5"/>
                    <a:pt x="22" y="7"/>
                    <a:pt x="27" y="7"/>
                  </a:cubicBezTo>
                  <a:cubicBezTo>
                    <a:pt x="27" y="8"/>
                    <a:pt x="25" y="8"/>
                    <a:pt x="24" y="8"/>
                  </a:cubicBezTo>
                  <a:cubicBezTo>
                    <a:pt x="24" y="9"/>
                    <a:pt x="26" y="9"/>
                    <a:pt x="27" y="9"/>
                  </a:cubicBezTo>
                  <a:cubicBezTo>
                    <a:pt x="28" y="9"/>
                    <a:pt x="27" y="7"/>
                    <a:pt x="28" y="7"/>
                  </a:cubicBezTo>
                  <a:cubicBezTo>
                    <a:pt x="30" y="6"/>
                    <a:pt x="32" y="6"/>
                    <a:pt x="35" y="5"/>
                  </a:cubicBezTo>
                  <a:cubicBezTo>
                    <a:pt x="36" y="7"/>
                    <a:pt x="39" y="8"/>
                    <a:pt x="38" y="11"/>
                  </a:cubicBezTo>
                  <a:cubicBezTo>
                    <a:pt x="41" y="11"/>
                    <a:pt x="40" y="8"/>
                    <a:pt x="43" y="9"/>
                  </a:cubicBezTo>
                  <a:cubicBezTo>
                    <a:pt x="44" y="8"/>
                    <a:pt x="46" y="7"/>
                    <a:pt x="47" y="5"/>
                  </a:cubicBezTo>
                  <a:cubicBezTo>
                    <a:pt x="48" y="6"/>
                    <a:pt x="49" y="7"/>
                    <a:pt x="50" y="7"/>
                  </a:cubicBezTo>
                  <a:cubicBezTo>
                    <a:pt x="51" y="8"/>
                    <a:pt x="51" y="10"/>
                    <a:pt x="51" y="11"/>
                  </a:cubicBezTo>
                  <a:cubicBezTo>
                    <a:pt x="52" y="13"/>
                    <a:pt x="55" y="13"/>
                    <a:pt x="54" y="16"/>
                  </a:cubicBezTo>
                  <a:cubicBezTo>
                    <a:pt x="56" y="16"/>
                    <a:pt x="56" y="13"/>
                    <a:pt x="58" y="13"/>
                  </a:cubicBezTo>
                  <a:cubicBezTo>
                    <a:pt x="58" y="11"/>
                    <a:pt x="55" y="11"/>
                    <a:pt x="55" y="10"/>
                  </a:cubicBezTo>
                  <a:cubicBezTo>
                    <a:pt x="54" y="8"/>
                    <a:pt x="56" y="6"/>
                    <a:pt x="55" y="3"/>
                  </a:cubicBezTo>
                  <a:cubicBezTo>
                    <a:pt x="57" y="3"/>
                    <a:pt x="57" y="2"/>
                    <a:pt x="60" y="2"/>
                  </a:cubicBezTo>
                  <a:cubicBezTo>
                    <a:pt x="60" y="4"/>
                    <a:pt x="63" y="7"/>
                    <a:pt x="64" y="10"/>
                  </a:cubicBezTo>
                  <a:cubicBezTo>
                    <a:pt x="65" y="11"/>
                    <a:pt x="67" y="15"/>
                    <a:pt x="68" y="13"/>
                  </a:cubicBezTo>
                  <a:cubicBezTo>
                    <a:pt x="70" y="13"/>
                    <a:pt x="68" y="16"/>
                    <a:pt x="70" y="16"/>
                  </a:cubicBezTo>
                  <a:cubicBezTo>
                    <a:pt x="70" y="18"/>
                    <a:pt x="70" y="19"/>
                    <a:pt x="69" y="20"/>
                  </a:cubicBezTo>
                  <a:cubicBezTo>
                    <a:pt x="70" y="22"/>
                    <a:pt x="74" y="21"/>
                    <a:pt x="73" y="24"/>
                  </a:cubicBezTo>
                  <a:cubicBezTo>
                    <a:pt x="77" y="22"/>
                    <a:pt x="77" y="26"/>
                    <a:pt x="83" y="25"/>
                  </a:cubicBezTo>
                  <a:cubicBezTo>
                    <a:pt x="81" y="30"/>
                    <a:pt x="86" y="28"/>
                    <a:pt x="87" y="29"/>
                  </a:cubicBezTo>
                  <a:cubicBezTo>
                    <a:pt x="87" y="29"/>
                    <a:pt x="85" y="32"/>
                    <a:pt x="88" y="31"/>
                  </a:cubicBezTo>
                  <a:cubicBezTo>
                    <a:pt x="86" y="37"/>
                    <a:pt x="84" y="30"/>
                    <a:pt x="78" y="31"/>
                  </a:cubicBezTo>
                  <a:cubicBezTo>
                    <a:pt x="77" y="36"/>
                    <a:pt x="83" y="34"/>
                    <a:pt x="81" y="40"/>
                  </a:cubicBezTo>
                  <a:cubicBezTo>
                    <a:pt x="77" y="41"/>
                    <a:pt x="71" y="42"/>
                    <a:pt x="68" y="40"/>
                  </a:cubicBezTo>
                  <a:cubicBezTo>
                    <a:pt x="64" y="37"/>
                    <a:pt x="56" y="36"/>
                    <a:pt x="51" y="40"/>
                  </a:cubicBezTo>
                  <a:cubicBezTo>
                    <a:pt x="50" y="40"/>
                    <a:pt x="49" y="40"/>
                    <a:pt x="46" y="41"/>
                  </a:cubicBezTo>
                  <a:cubicBezTo>
                    <a:pt x="44" y="41"/>
                    <a:pt x="44" y="42"/>
                    <a:pt x="44" y="43"/>
                  </a:cubicBezTo>
                  <a:cubicBezTo>
                    <a:pt x="41" y="41"/>
                    <a:pt x="35" y="44"/>
                    <a:pt x="29" y="43"/>
                  </a:cubicBezTo>
                  <a:cubicBezTo>
                    <a:pt x="28" y="41"/>
                    <a:pt x="26" y="39"/>
                    <a:pt x="24" y="36"/>
                  </a:cubicBezTo>
                  <a:cubicBezTo>
                    <a:pt x="21" y="36"/>
                    <a:pt x="15" y="37"/>
                    <a:pt x="15" y="34"/>
                  </a:cubicBezTo>
                  <a:cubicBezTo>
                    <a:pt x="14" y="34"/>
                    <a:pt x="14" y="34"/>
                    <a:pt x="14" y="35"/>
                  </a:cubicBezTo>
                  <a:cubicBezTo>
                    <a:pt x="12" y="35"/>
                    <a:pt x="13" y="33"/>
                    <a:pt x="14" y="33"/>
                  </a:cubicBezTo>
                  <a:cubicBezTo>
                    <a:pt x="14" y="30"/>
                    <a:pt x="10" y="33"/>
                    <a:pt x="10" y="34"/>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89" name="Freeform 91"/>
            <p:cNvSpPr>
              <a:spLocks noEditPoints="1"/>
            </p:cNvSpPr>
            <p:nvPr/>
          </p:nvSpPr>
          <p:spPr bwMode="auto">
            <a:xfrm>
              <a:off x="7724364" y="1507974"/>
              <a:ext cx="2339975" cy="2714625"/>
            </a:xfrm>
            <a:custGeom>
              <a:avLst/>
              <a:gdLst>
                <a:gd name="T0" fmla="*/ 964 w 624"/>
                <a:gd name="T1" fmla="*/ 111 h 724"/>
                <a:gd name="T2" fmla="*/ 867 w 624"/>
                <a:gd name="T3" fmla="*/ 180 h 724"/>
                <a:gd name="T4" fmla="*/ 855 w 624"/>
                <a:gd name="T5" fmla="*/ 279 h 724"/>
                <a:gd name="T6" fmla="*/ 976 w 624"/>
                <a:gd name="T7" fmla="*/ 359 h 724"/>
                <a:gd name="T8" fmla="*/ 1013 w 624"/>
                <a:gd name="T9" fmla="*/ 250 h 724"/>
                <a:gd name="T10" fmla="*/ 1115 w 624"/>
                <a:gd name="T11" fmla="*/ 248 h 724"/>
                <a:gd name="T12" fmla="*/ 1207 w 624"/>
                <a:gd name="T13" fmla="*/ 274 h 724"/>
                <a:gd name="T14" fmla="*/ 1243 w 624"/>
                <a:gd name="T15" fmla="*/ 368 h 724"/>
                <a:gd name="T16" fmla="*/ 1129 w 624"/>
                <a:gd name="T17" fmla="*/ 409 h 724"/>
                <a:gd name="T18" fmla="*/ 1198 w 624"/>
                <a:gd name="T19" fmla="*/ 451 h 724"/>
                <a:gd name="T20" fmla="*/ 1169 w 624"/>
                <a:gd name="T21" fmla="*/ 465 h 724"/>
                <a:gd name="T22" fmla="*/ 1044 w 624"/>
                <a:gd name="T23" fmla="*/ 557 h 724"/>
                <a:gd name="T24" fmla="*/ 992 w 624"/>
                <a:gd name="T25" fmla="*/ 713 h 724"/>
                <a:gd name="T26" fmla="*/ 883 w 624"/>
                <a:gd name="T27" fmla="*/ 652 h 724"/>
                <a:gd name="T28" fmla="*/ 798 w 624"/>
                <a:gd name="T29" fmla="*/ 768 h 724"/>
                <a:gd name="T30" fmla="*/ 895 w 624"/>
                <a:gd name="T31" fmla="*/ 815 h 724"/>
                <a:gd name="T32" fmla="*/ 1030 w 624"/>
                <a:gd name="T33" fmla="*/ 907 h 724"/>
                <a:gd name="T34" fmla="*/ 1143 w 624"/>
                <a:gd name="T35" fmla="*/ 890 h 724"/>
                <a:gd name="T36" fmla="*/ 1318 w 624"/>
                <a:gd name="T37" fmla="*/ 966 h 724"/>
                <a:gd name="T38" fmla="*/ 1474 w 624"/>
                <a:gd name="T39" fmla="*/ 1060 h 724"/>
                <a:gd name="T40" fmla="*/ 1405 w 624"/>
                <a:gd name="T41" fmla="*/ 1275 h 724"/>
                <a:gd name="T42" fmla="*/ 1320 w 624"/>
                <a:gd name="T43" fmla="*/ 1370 h 724"/>
                <a:gd name="T44" fmla="*/ 1238 w 624"/>
                <a:gd name="T45" fmla="*/ 1460 h 724"/>
                <a:gd name="T46" fmla="*/ 1162 w 624"/>
                <a:gd name="T47" fmla="*/ 1547 h 724"/>
                <a:gd name="T48" fmla="*/ 1129 w 624"/>
                <a:gd name="T49" fmla="*/ 1613 h 724"/>
                <a:gd name="T50" fmla="*/ 1068 w 624"/>
                <a:gd name="T51" fmla="*/ 1679 h 724"/>
                <a:gd name="T52" fmla="*/ 1046 w 624"/>
                <a:gd name="T53" fmla="*/ 1590 h 724"/>
                <a:gd name="T54" fmla="*/ 1096 w 624"/>
                <a:gd name="T55" fmla="*/ 1396 h 724"/>
                <a:gd name="T56" fmla="*/ 1089 w 624"/>
                <a:gd name="T57" fmla="*/ 1214 h 724"/>
                <a:gd name="T58" fmla="*/ 992 w 624"/>
                <a:gd name="T59" fmla="*/ 1089 h 724"/>
                <a:gd name="T60" fmla="*/ 1011 w 624"/>
                <a:gd name="T61" fmla="*/ 985 h 724"/>
                <a:gd name="T62" fmla="*/ 926 w 624"/>
                <a:gd name="T63" fmla="*/ 876 h 724"/>
                <a:gd name="T64" fmla="*/ 834 w 624"/>
                <a:gd name="T65" fmla="*/ 822 h 724"/>
                <a:gd name="T66" fmla="*/ 692 w 624"/>
                <a:gd name="T67" fmla="*/ 742 h 724"/>
                <a:gd name="T68" fmla="*/ 612 w 624"/>
                <a:gd name="T69" fmla="*/ 657 h 724"/>
                <a:gd name="T70" fmla="*/ 612 w 624"/>
                <a:gd name="T71" fmla="*/ 690 h 724"/>
                <a:gd name="T72" fmla="*/ 527 w 624"/>
                <a:gd name="T73" fmla="*/ 586 h 724"/>
                <a:gd name="T74" fmla="*/ 475 w 624"/>
                <a:gd name="T75" fmla="*/ 399 h 724"/>
                <a:gd name="T76" fmla="*/ 444 w 624"/>
                <a:gd name="T77" fmla="*/ 350 h 724"/>
                <a:gd name="T78" fmla="*/ 364 w 624"/>
                <a:gd name="T79" fmla="*/ 260 h 724"/>
                <a:gd name="T80" fmla="*/ 224 w 624"/>
                <a:gd name="T81" fmla="*/ 215 h 724"/>
                <a:gd name="T82" fmla="*/ 156 w 624"/>
                <a:gd name="T83" fmla="*/ 250 h 724"/>
                <a:gd name="T84" fmla="*/ 85 w 624"/>
                <a:gd name="T85" fmla="*/ 295 h 724"/>
                <a:gd name="T86" fmla="*/ 35 w 624"/>
                <a:gd name="T87" fmla="*/ 229 h 724"/>
                <a:gd name="T88" fmla="*/ 14 w 624"/>
                <a:gd name="T89" fmla="*/ 146 h 724"/>
                <a:gd name="T90" fmla="*/ 40 w 624"/>
                <a:gd name="T91" fmla="*/ 92 h 724"/>
                <a:gd name="T92" fmla="*/ 142 w 624"/>
                <a:gd name="T93" fmla="*/ 31 h 724"/>
                <a:gd name="T94" fmla="*/ 380 w 624"/>
                <a:gd name="T95" fmla="*/ 57 h 724"/>
                <a:gd name="T96" fmla="*/ 494 w 624"/>
                <a:gd name="T97" fmla="*/ 61 h 724"/>
                <a:gd name="T98" fmla="*/ 673 w 624"/>
                <a:gd name="T99" fmla="*/ 109 h 724"/>
                <a:gd name="T100" fmla="*/ 801 w 624"/>
                <a:gd name="T101" fmla="*/ 78 h 724"/>
                <a:gd name="T102" fmla="*/ 836 w 624"/>
                <a:gd name="T103" fmla="*/ 17 h 724"/>
                <a:gd name="T104" fmla="*/ 902 w 624"/>
                <a:gd name="T105" fmla="*/ 76 h 724"/>
                <a:gd name="T106" fmla="*/ 482 w 624"/>
                <a:gd name="T107" fmla="*/ 130 h 724"/>
                <a:gd name="T108" fmla="*/ 621 w 624"/>
                <a:gd name="T109" fmla="*/ 201 h 724"/>
                <a:gd name="T110" fmla="*/ 600 w 624"/>
                <a:gd name="T111" fmla="*/ 198 h 724"/>
                <a:gd name="T112" fmla="*/ 794 w 624"/>
                <a:gd name="T113" fmla="*/ 373 h 724"/>
                <a:gd name="T114" fmla="*/ 857 w 624"/>
                <a:gd name="T115" fmla="*/ 439 h 724"/>
                <a:gd name="T116" fmla="*/ 914 w 624"/>
                <a:gd name="T117" fmla="*/ 404 h 724"/>
                <a:gd name="T118" fmla="*/ 902 w 624"/>
                <a:gd name="T119" fmla="*/ 508 h 724"/>
                <a:gd name="T120" fmla="*/ 999 w 624"/>
                <a:gd name="T121" fmla="*/ 475 h 724"/>
                <a:gd name="T122" fmla="*/ 973 w 624"/>
                <a:gd name="T123" fmla="*/ 503 h 7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24" h="724">
                  <a:moveTo>
                    <a:pt x="380" y="39"/>
                  </a:moveTo>
                  <a:cubicBezTo>
                    <a:pt x="380" y="42"/>
                    <a:pt x="383" y="37"/>
                    <a:pt x="382" y="43"/>
                  </a:cubicBezTo>
                  <a:cubicBezTo>
                    <a:pt x="383" y="43"/>
                    <a:pt x="385" y="43"/>
                    <a:pt x="386" y="43"/>
                  </a:cubicBezTo>
                  <a:cubicBezTo>
                    <a:pt x="388" y="42"/>
                    <a:pt x="388" y="40"/>
                    <a:pt x="388" y="37"/>
                  </a:cubicBezTo>
                  <a:cubicBezTo>
                    <a:pt x="390" y="36"/>
                    <a:pt x="391" y="35"/>
                    <a:pt x="391" y="33"/>
                  </a:cubicBezTo>
                  <a:cubicBezTo>
                    <a:pt x="394" y="35"/>
                    <a:pt x="391" y="30"/>
                    <a:pt x="395" y="31"/>
                  </a:cubicBezTo>
                  <a:cubicBezTo>
                    <a:pt x="395" y="28"/>
                    <a:pt x="395" y="25"/>
                    <a:pt x="395" y="23"/>
                  </a:cubicBezTo>
                  <a:cubicBezTo>
                    <a:pt x="399" y="22"/>
                    <a:pt x="401" y="21"/>
                    <a:pt x="405" y="23"/>
                  </a:cubicBezTo>
                  <a:cubicBezTo>
                    <a:pt x="406" y="23"/>
                    <a:pt x="405" y="25"/>
                    <a:pt x="406" y="26"/>
                  </a:cubicBezTo>
                  <a:cubicBezTo>
                    <a:pt x="406" y="27"/>
                    <a:pt x="408" y="26"/>
                    <a:pt x="408" y="26"/>
                  </a:cubicBezTo>
                  <a:cubicBezTo>
                    <a:pt x="410" y="27"/>
                    <a:pt x="410" y="28"/>
                    <a:pt x="412" y="29"/>
                  </a:cubicBezTo>
                  <a:cubicBezTo>
                    <a:pt x="412" y="32"/>
                    <a:pt x="410" y="33"/>
                    <a:pt x="408" y="35"/>
                  </a:cubicBezTo>
                  <a:cubicBezTo>
                    <a:pt x="411" y="36"/>
                    <a:pt x="410" y="41"/>
                    <a:pt x="413" y="42"/>
                  </a:cubicBezTo>
                  <a:cubicBezTo>
                    <a:pt x="412" y="44"/>
                    <a:pt x="409" y="45"/>
                    <a:pt x="408" y="47"/>
                  </a:cubicBezTo>
                  <a:cubicBezTo>
                    <a:pt x="406" y="47"/>
                    <a:pt x="405" y="49"/>
                    <a:pt x="405" y="47"/>
                  </a:cubicBezTo>
                  <a:cubicBezTo>
                    <a:pt x="403" y="49"/>
                    <a:pt x="402" y="52"/>
                    <a:pt x="401" y="53"/>
                  </a:cubicBezTo>
                  <a:cubicBezTo>
                    <a:pt x="400" y="52"/>
                    <a:pt x="402" y="50"/>
                    <a:pt x="396" y="51"/>
                  </a:cubicBezTo>
                  <a:cubicBezTo>
                    <a:pt x="396" y="50"/>
                    <a:pt x="398" y="50"/>
                    <a:pt x="399" y="50"/>
                  </a:cubicBezTo>
                  <a:cubicBezTo>
                    <a:pt x="396" y="46"/>
                    <a:pt x="392" y="51"/>
                    <a:pt x="388" y="50"/>
                  </a:cubicBezTo>
                  <a:cubicBezTo>
                    <a:pt x="389" y="54"/>
                    <a:pt x="388" y="52"/>
                    <a:pt x="388" y="57"/>
                  </a:cubicBezTo>
                  <a:cubicBezTo>
                    <a:pt x="387" y="57"/>
                    <a:pt x="387" y="55"/>
                    <a:pt x="387" y="55"/>
                  </a:cubicBezTo>
                  <a:cubicBezTo>
                    <a:pt x="384" y="55"/>
                    <a:pt x="385" y="59"/>
                    <a:pt x="381" y="58"/>
                  </a:cubicBezTo>
                  <a:cubicBezTo>
                    <a:pt x="381" y="59"/>
                    <a:pt x="383" y="59"/>
                    <a:pt x="383" y="60"/>
                  </a:cubicBezTo>
                  <a:cubicBezTo>
                    <a:pt x="384" y="63"/>
                    <a:pt x="382" y="63"/>
                    <a:pt x="382" y="65"/>
                  </a:cubicBezTo>
                  <a:cubicBezTo>
                    <a:pt x="379" y="63"/>
                    <a:pt x="376" y="70"/>
                    <a:pt x="375" y="69"/>
                  </a:cubicBezTo>
                  <a:cubicBezTo>
                    <a:pt x="375" y="68"/>
                    <a:pt x="373" y="67"/>
                    <a:pt x="373" y="71"/>
                  </a:cubicBezTo>
                  <a:cubicBezTo>
                    <a:pt x="371" y="71"/>
                    <a:pt x="370" y="71"/>
                    <a:pt x="368" y="71"/>
                  </a:cubicBezTo>
                  <a:cubicBezTo>
                    <a:pt x="367" y="71"/>
                    <a:pt x="367" y="74"/>
                    <a:pt x="367" y="76"/>
                  </a:cubicBezTo>
                  <a:cubicBezTo>
                    <a:pt x="366" y="74"/>
                    <a:pt x="365" y="75"/>
                    <a:pt x="365" y="77"/>
                  </a:cubicBezTo>
                  <a:cubicBezTo>
                    <a:pt x="362" y="75"/>
                    <a:pt x="362" y="77"/>
                    <a:pt x="359" y="77"/>
                  </a:cubicBezTo>
                  <a:cubicBezTo>
                    <a:pt x="360" y="78"/>
                    <a:pt x="360" y="80"/>
                    <a:pt x="360" y="82"/>
                  </a:cubicBezTo>
                  <a:cubicBezTo>
                    <a:pt x="357" y="79"/>
                    <a:pt x="358" y="82"/>
                    <a:pt x="356" y="85"/>
                  </a:cubicBezTo>
                  <a:cubicBezTo>
                    <a:pt x="355" y="88"/>
                    <a:pt x="352" y="90"/>
                    <a:pt x="352" y="96"/>
                  </a:cubicBezTo>
                  <a:cubicBezTo>
                    <a:pt x="349" y="97"/>
                    <a:pt x="348" y="101"/>
                    <a:pt x="346" y="103"/>
                  </a:cubicBezTo>
                  <a:cubicBezTo>
                    <a:pt x="346" y="105"/>
                    <a:pt x="347" y="103"/>
                    <a:pt x="347" y="103"/>
                  </a:cubicBezTo>
                  <a:cubicBezTo>
                    <a:pt x="348" y="103"/>
                    <a:pt x="347" y="103"/>
                    <a:pt x="348" y="104"/>
                  </a:cubicBezTo>
                  <a:cubicBezTo>
                    <a:pt x="349" y="104"/>
                    <a:pt x="350" y="106"/>
                    <a:pt x="350" y="106"/>
                  </a:cubicBezTo>
                  <a:cubicBezTo>
                    <a:pt x="351" y="107"/>
                    <a:pt x="353" y="104"/>
                    <a:pt x="355" y="106"/>
                  </a:cubicBezTo>
                  <a:cubicBezTo>
                    <a:pt x="356" y="107"/>
                    <a:pt x="356" y="108"/>
                    <a:pt x="358" y="107"/>
                  </a:cubicBezTo>
                  <a:cubicBezTo>
                    <a:pt x="358" y="109"/>
                    <a:pt x="358" y="111"/>
                    <a:pt x="358" y="112"/>
                  </a:cubicBezTo>
                  <a:cubicBezTo>
                    <a:pt x="358" y="113"/>
                    <a:pt x="360" y="113"/>
                    <a:pt x="360" y="115"/>
                  </a:cubicBezTo>
                  <a:cubicBezTo>
                    <a:pt x="361" y="116"/>
                    <a:pt x="363" y="116"/>
                    <a:pt x="362" y="118"/>
                  </a:cubicBezTo>
                  <a:cubicBezTo>
                    <a:pt x="368" y="117"/>
                    <a:pt x="373" y="120"/>
                    <a:pt x="376" y="118"/>
                  </a:cubicBezTo>
                  <a:cubicBezTo>
                    <a:pt x="377" y="122"/>
                    <a:pt x="382" y="121"/>
                    <a:pt x="385" y="124"/>
                  </a:cubicBezTo>
                  <a:cubicBezTo>
                    <a:pt x="385" y="125"/>
                    <a:pt x="386" y="124"/>
                    <a:pt x="386" y="125"/>
                  </a:cubicBezTo>
                  <a:cubicBezTo>
                    <a:pt x="386" y="127"/>
                    <a:pt x="387" y="125"/>
                    <a:pt x="387" y="125"/>
                  </a:cubicBezTo>
                  <a:cubicBezTo>
                    <a:pt x="388" y="125"/>
                    <a:pt x="388" y="127"/>
                    <a:pt x="389" y="128"/>
                  </a:cubicBezTo>
                  <a:cubicBezTo>
                    <a:pt x="391" y="128"/>
                    <a:pt x="393" y="127"/>
                    <a:pt x="393" y="130"/>
                  </a:cubicBezTo>
                  <a:cubicBezTo>
                    <a:pt x="399" y="130"/>
                    <a:pt x="403" y="132"/>
                    <a:pt x="408" y="132"/>
                  </a:cubicBezTo>
                  <a:cubicBezTo>
                    <a:pt x="408" y="136"/>
                    <a:pt x="407" y="139"/>
                    <a:pt x="409" y="142"/>
                  </a:cubicBezTo>
                  <a:cubicBezTo>
                    <a:pt x="409" y="141"/>
                    <a:pt x="411" y="143"/>
                    <a:pt x="411" y="143"/>
                  </a:cubicBezTo>
                  <a:cubicBezTo>
                    <a:pt x="411" y="144"/>
                    <a:pt x="409" y="145"/>
                    <a:pt x="409" y="145"/>
                  </a:cubicBezTo>
                  <a:cubicBezTo>
                    <a:pt x="410" y="147"/>
                    <a:pt x="411" y="145"/>
                    <a:pt x="412" y="146"/>
                  </a:cubicBezTo>
                  <a:cubicBezTo>
                    <a:pt x="412" y="147"/>
                    <a:pt x="410" y="150"/>
                    <a:pt x="413" y="149"/>
                  </a:cubicBezTo>
                  <a:cubicBezTo>
                    <a:pt x="412" y="150"/>
                    <a:pt x="412" y="151"/>
                    <a:pt x="412" y="152"/>
                  </a:cubicBezTo>
                  <a:cubicBezTo>
                    <a:pt x="412" y="154"/>
                    <a:pt x="413" y="153"/>
                    <a:pt x="413" y="152"/>
                  </a:cubicBezTo>
                  <a:cubicBezTo>
                    <a:pt x="414" y="152"/>
                    <a:pt x="413" y="154"/>
                    <a:pt x="414" y="155"/>
                  </a:cubicBezTo>
                  <a:cubicBezTo>
                    <a:pt x="414" y="155"/>
                    <a:pt x="416" y="154"/>
                    <a:pt x="416" y="155"/>
                  </a:cubicBezTo>
                  <a:cubicBezTo>
                    <a:pt x="418" y="156"/>
                    <a:pt x="422" y="156"/>
                    <a:pt x="426" y="155"/>
                  </a:cubicBezTo>
                  <a:cubicBezTo>
                    <a:pt x="427" y="150"/>
                    <a:pt x="427" y="148"/>
                    <a:pt x="426" y="143"/>
                  </a:cubicBezTo>
                  <a:cubicBezTo>
                    <a:pt x="426" y="141"/>
                    <a:pt x="424" y="142"/>
                    <a:pt x="423" y="142"/>
                  </a:cubicBezTo>
                  <a:cubicBezTo>
                    <a:pt x="422" y="140"/>
                    <a:pt x="425" y="136"/>
                    <a:pt x="421" y="137"/>
                  </a:cubicBezTo>
                  <a:cubicBezTo>
                    <a:pt x="422" y="136"/>
                    <a:pt x="424" y="136"/>
                    <a:pt x="423" y="133"/>
                  </a:cubicBezTo>
                  <a:cubicBezTo>
                    <a:pt x="428" y="135"/>
                    <a:pt x="428" y="131"/>
                    <a:pt x="432" y="131"/>
                  </a:cubicBezTo>
                  <a:cubicBezTo>
                    <a:pt x="434" y="131"/>
                    <a:pt x="432" y="128"/>
                    <a:pt x="433" y="128"/>
                  </a:cubicBezTo>
                  <a:cubicBezTo>
                    <a:pt x="433" y="127"/>
                    <a:pt x="436" y="129"/>
                    <a:pt x="436" y="128"/>
                  </a:cubicBezTo>
                  <a:cubicBezTo>
                    <a:pt x="433" y="123"/>
                    <a:pt x="438" y="117"/>
                    <a:pt x="435" y="115"/>
                  </a:cubicBezTo>
                  <a:cubicBezTo>
                    <a:pt x="435" y="113"/>
                    <a:pt x="434" y="114"/>
                    <a:pt x="434" y="115"/>
                  </a:cubicBezTo>
                  <a:cubicBezTo>
                    <a:pt x="432" y="113"/>
                    <a:pt x="434" y="110"/>
                    <a:pt x="431" y="111"/>
                  </a:cubicBezTo>
                  <a:cubicBezTo>
                    <a:pt x="431" y="109"/>
                    <a:pt x="429" y="109"/>
                    <a:pt x="429" y="106"/>
                  </a:cubicBezTo>
                  <a:cubicBezTo>
                    <a:pt x="429" y="104"/>
                    <a:pt x="430" y="103"/>
                    <a:pt x="433" y="103"/>
                  </a:cubicBezTo>
                  <a:cubicBezTo>
                    <a:pt x="431" y="102"/>
                    <a:pt x="434" y="95"/>
                    <a:pt x="429" y="95"/>
                  </a:cubicBezTo>
                  <a:cubicBezTo>
                    <a:pt x="430" y="94"/>
                    <a:pt x="430" y="93"/>
                    <a:pt x="431" y="91"/>
                  </a:cubicBezTo>
                  <a:cubicBezTo>
                    <a:pt x="431" y="91"/>
                    <a:pt x="429" y="91"/>
                    <a:pt x="429" y="90"/>
                  </a:cubicBezTo>
                  <a:cubicBezTo>
                    <a:pt x="429" y="90"/>
                    <a:pt x="431" y="90"/>
                    <a:pt x="431" y="89"/>
                  </a:cubicBezTo>
                  <a:cubicBezTo>
                    <a:pt x="430" y="88"/>
                    <a:pt x="429" y="88"/>
                    <a:pt x="429" y="86"/>
                  </a:cubicBezTo>
                  <a:cubicBezTo>
                    <a:pt x="429" y="85"/>
                    <a:pt x="432" y="82"/>
                    <a:pt x="429" y="82"/>
                  </a:cubicBezTo>
                  <a:cubicBezTo>
                    <a:pt x="430" y="80"/>
                    <a:pt x="439" y="79"/>
                    <a:pt x="438" y="83"/>
                  </a:cubicBezTo>
                  <a:cubicBezTo>
                    <a:pt x="442" y="82"/>
                    <a:pt x="449" y="84"/>
                    <a:pt x="451" y="80"/>
                  </a:cubicBezTo>
                  <a:cubicBezTo>
                    <a:pt x="453" y="84"/>
                    <a:pt x="459" y="84"/>
                    <a:pt x="459" y="90"/>
                  </a:cubicBezTo>
                  <a:cubicBezTo>
                    <a:pt x="462" y="90"/>
                    <a:pt x="465" y="90"/>
                    <a:pt x="468" y="90"/>
                  </a:cubicBezTo>
                  <a:cubicBezTo>
                    <a:pt x="468" y="92"/>
                    <a:pt x="469" y="92"/>
                    <a:pt x="471" y="92"/>
                  </a:cubicBezTo>
                  <a:cubicBezTo>
                    <a:pt x="471" y="95"/>
                    <a:pt x="470" y="97"/>
                    <a:pt x="471" y="99"/>
                  </a:cubicBezTo>
                  <a:cubicBezTo>
                    <a:pt x="471" y="102"/>
                    <a:pt x="474" y="105"/>
                    <a:pt x="472" y="105"/>
                  </a:cubicBezTo>
                  <a:cubicBezTo>
                    <a:pt x="472" y="107"/>
                    <a:pt x="474" y="106"/>
                    <a:pt x="475" y="106"/>
                  </a:cubicBezTo>
                  <a:cubicBezTo>
                    <a:pt x="475" y="110"/>
                    <a:pt x="480" y="108"/>
                    <a:pt x="476" y="111"/>
                  </a:cubicBezTo>
                  <a:cubicBezTo>
                    <a:pt x="481" y="112"/>
                    <a:pt x="483" y="109"/>
                    <a:pt x="487" y="110"/>
                  </a:cubicBezTo>
                  <a:cubicBezTo>
                    <a:pt x="487" y="108"/>
                    <a:pt x="487" y="108"/>
                    <a:pt x="486" y="107"/>
                  </a:cubicBezTo>
                  <a:cubicBezTo>
                    <a:pt x="487" y="105"/>
                    <a:pt x="488" y="105"/>
                    <a:pt x="489" y="106"/>
                  </a:cubicBezTo>
                  <a:cubicBezTo>
                    <a:pt x="488" y="103"/>
                    <a:pt x="492" y="103"/>
                    <a:pt x="493" y="102"/>
                  </a:cubicBezTo>
                  <a:cubicBezTo>
                    <a:pt x="494" y="101"/>
                    <a:pt x="492" y="101"/>
                    <a:pt x="492" y="100"/>
                  </a:cubicBezTo>
                  <a:cubicBezTo>
                    <a:pt x="492" y="99"/>
                    <a:pt x="494" y="98"/>
                    <a:pt x="496" y="98"/>
                  </a:cubicBezTo>
                  <a:cubicBezTo>
                    <a:pt x="494" y="101"/>
                    <a:pt x="496" y="101"/>
                    <a:pt x="499" y="104"/>
                  </a:cubicBezTo>
                  <a:cubicBezTo>
                    <a:pt x="500" y="106"/>
                    <a:pt x="501" y="108"/>
                    <a:pt x="506" y="109"/>
                  </a:cubicBezTo>
                  <a:cubicBezTo>
                    <a:pt x="506" y="110"/>
                    <a:pt x="504" y="109"/>
                    <a:pt x="504" y="111"/>
                  </a:cubicBezTo>
                  <a:cubicBezTo>
                    <a:pt x="504" y="112"/>
                    <a:pt x="506" y="112"/>
                    <a:pt x="506" y="115"/>
                  </a:cubicBezTo>
                  <a:cubicBezTo>
                    <a:pt x="507" y="115"/>
                    <a:pt x="507" y="112"/>
                    <a:pt x="507" y="112"/>
                  </a:cubicBezTo>
                  <a:cubicBezTo>
                    <a:pt x="510" y="111"/>
                    <a:pt x="506" y="117"/>
                    <a:pt x="511" y="116"/>
                  </a:cubicBezTo>
                  <a:cubicBezTo>
                    <a:pt x="509" y="119"/>
                    <a:pt x="511" y="120"/>
                    <a:pt x="508" y="123"/>
                  </a:cubicBezTo>
                  <a:cubicBezTo>
                    <a:pt x="508" y="125"/>
                    <a:pt x="512" y="124"/>
                    <a:pt x="513" y="125"/>
                  </a:cubicBezTo>
                  <a:cubicBezTo>
                    <a:pt x="513" y="125"/>
                    <a:pt x="511" y="127"/>
                    <a:pt x="512" y="128"/>
                  </a:cubicBezTo>
                  <a:cubicBezTo>
                    <a:pt x="512" y="128"/>
                    <a:pt x="515" y="128"/>
                    <a:pt x="515" y="129"/>
                  </a:cubicBezTo>
                  <a:cubicBezTo>
                    <a:pt x="516" y="129"/>
                    <a:pt x="517" y="131"/>
                    <a:pt x="518" y="131"/>
                  </a:cubicBezTo>
                  <a:cubicBezTo>
                    <a:pt x="519" y="132"/>
                    <a:pt x="522" y="133"/>
                    <a:pt x="524" y="135"/>
                  </a:cubicBezTo>
                  <a:cubicBezTo>
                    <a:pt x="525" y="135"/>
                    <a:pt x="526" y="130"/>
                    <a:pt x="527" y="133"/>
                  </a:cubicBezTo>
                  <a:cubicBezTo>
                    <a:pt x="527" y="137"/>
                    <a:pt x="524" y="137"/>
                    <a:pt x="521" y="137"/>
                  </a:cubicBezTo>
                  <a:cubicBezTo>
                    <a:pt x="523" y="139"/>
                    <a:pt x="527" y="140"/>
                    <a:pt x="531" y="140"/>
                  </a:cubicBezTo>
                  <a:cubicBezTo>
                    <a:pt x="530" y="142"/>
                    <a:pt x="532" y="143"/>
                    <a:pt x="533" y="143"/>
                  </a:cubicBezTo>
                  <a:cubicBezTo>
                    <a:pt x="533" y="145"/>
                    <a:pt x="533" y="147"/>
                    <a:pt x="535" y="146"/>
                  </a:cubicBezTo>
                  <a:cubicBezTo>
                    <a:pt x="534" y="148"/>
                    <a:pt x="534" y="150"/>
                    <a:pt x="534" y="152"/>
                  </a:cubicBezTo>
                  <a:cubicBezTo>
                    <a:pt x="532" y="153"/>
                    <a:pt x="529" y="153"/>
                    <a:pt x="527" y="155"/>
                  </a:cubicBezTo>
                  <a:cubicBezTo>
                    <a:pt x="526" y="155"/>
                    <a:pt x="527" y="156"/>
                    <a:pt x="526" y="156"/>
                  </a:cubicBezTo>
                  <a:cubicBezTo>
                    <a:pt x="525" y="156"/>
                    <a:pt x="524" y="156"/>
                    <a:pt x="524" y="157"/>
                  </a:cubicBezTo>
                  <a:cubicBezTo>
                    <a:pt x="523" y="159"/>
                    <a:pt x="521" y="157"/>
                    <a:pt x="521" y="157"/>
                  </a:cubicBezTo>
                  <a:cubicBezTo>
                    <a:pt x="521" y="157"/>
                    <a:pt x="519" y="159"/>
                    <a:pt x="519" y="159"/>
                  </a:cubicBezTo>
                  <a:cubicBezTo>
                    <a:pt x="519" y="160"/>
                    <a:pt x="518" y="162"/>
                    <a:pt x="518" y="163"/>
                  </a:cubicBezTo>
                  <a:cubicBezTo>
                    <a:pt x="517" y="164"/>
                    <a:pt x="512" y="163"/>
                    <a:pt x="515" y="164"/>
                  </a:cubicBezTo>
                  <a:cubicBezTo>
                    <a:pt x="514" y="166"/>
                    <a:pt x="510" y="165"/>
                    <a:pt x="508" y="165"/>
                  </a:cubicBezTo>
                  <a:cubicBezTo>
                    <a:pt x="506" y="165"/>
                    <a:pt x="503" y="165"/>
                    <a:pt x="501" y="165"/>
                  </a:cubicBezTo>
                  <a:cubicBezTo>
                    <a:pt x="499" y="165"/>
                    <a:pt x="499" y="164"/>
                    <a:pt x="498" y="164"/>
                  </a:cubicBezTo>
                  <a:cubicBezTo>
                    <a:pt x="492" y="163"/>
                    <a:pt x="487" y="165"/>
                    <a:pt x="482" y="165"/>
                  </a:cubicBezTo>
                  <a:cubicBezTo>
                    <a:pt x="478" y="167"/>
                    <a:pt x="477" y="171"/>
                    <a:pt x="472" y="172"/>
                  </a:cubicBezTo>
                  <a:cubicBezTo>
                    <a:pt x="474" y="175"/>
                    <a:pt x="470" y="175"/>
                    <a:pt x="468" y="177"/>
                  </a:cubicBezTo>
                  <a:cubicBezTo>
                    <a:pt x="469" y="178"/>
                    <a:pt x="469" y="179"/>
                    <a:pt x="469" y="180"/>
                  </a:cubicBezTo>
                  <a:cubicBezTo>
                    <a:pt x="471" y="180"/>
                    <a:pt x="471" y="177"/>
                    <a:pt x="473" y="176"/>
                  </a:cubicBezTo>
                  <a:cubicBezTo>
                    <a:pt x="474" y="175"/>
                    <a:pt x="478" y="176"/>
                    <a:pt x="478" y="173"/>
                  </a:cubicBezTo>
                  <a:cubicBezTo>
                    <a:pt x="478" y="169"/>
                    <a:pt x="480" y="176"/>
                    <a:pt x="480" y="171"/>
                  </a:cubicBezTo>
                  <a:cubicBezTo>
                    <a:pt x="481" y="170"/>
                    <a:pt x="482" y="172"/>
                    <a:pt x="482" y="172"/>
                  </a:cubicBezTo>
                  <a:cubicBezTo>
                    <a:pt x="484" y="172"/>
                    <a:pt x="483" y="170"/>
                    <a:pt x="484" y="170"/>
                  </a:cubicBezTo>
                  <a:cubicBezTo>
                    <a:pt x="486" y="169"/>
                    <a:pt x="488" y="170"/>
                    <a:pt x="492" y="170"/>
                  </a:cubicBezTo>
                  <a:cubicBezTo>
                    <a:pt x="492" y="171"/>
                    <a:pt x="493" y="171"/>
                    <a:pt x="493" y="170"/>
                  </a:cubicBezTo>
                  <a:cubicBezTo>
                    <a:pt x="495" y="170"/>
                    <a:pt x="495" y="176"/>
                    <a:pt x="492" y="175"/>
                  </a:cubicBezTo>
                  <a:cubicBezTo>
                    <a:pt x="494" y="177"/>
                    <a:pt x="490" y="178"/>
                    <a:pt x="491" y="183"/>
                  </a:cubicBezTo>
                  <a:cubicBezTo>
                    <a:pt x="491" y="184"/>
                    <a:pt x="492" y="185"/>
                    <a:pt x="492" y="186"/>
                  </a:cubicBezTo>
                  <a:cubicBezTo>
                    <a:pt x="493" y="186"/>
                    <a:pt x="494" y="185"/>
                    <a:pt x="494" y="186"/>
                  </a:cubicBezTo>
                  <a:cubicBezTo>
                    <a:pt x="494" y="188"/>
                    <a:pt x="496" y="187"/>
                    <a:pt x="496" y="188"/>
                  </a:cubicBezTo>
                  <a:cubicBezTo>
                    <a:pt x="497" y="188"/>
                    <a:pt x="498" y="190"/>
                    <a:pt x="499" y="190"/>
                  </a:cubicBezTo>
                  <a:cubicBezTo>
                    <a:pt x="500" y="190"/>
                    <a:pt x="500" y="190"/>
                    <a:pt x="501" y="190"/>
                  </a:cubicBezTo>
                  <a:cubicBezTo>
                    <a:pt x="502" y="190"/>
                    <a:pt x="502" y="191"/>
                    <a:pt x="502" y="191"/>
                  </a:cubicBezTo>
                  <a:cubicBezTo>
                    <a:pt x="504" y="192"/>
                    <a:pt x="506" y="188"/>
                    <a:pt x="507" y="191"/>
                  </a:cubicBezTo>
                  <a:cubicBezTo>
                    <a:pt x="508" y="191"/>
                    <a:pt x="508" y="189"/>
                    <a:pt x="508" y="189"/>
                  </a:cubicBezTo>
                  <a:cubicBezTo>
                    <a:pt x="509" y="189"/>
                    <a:pt x="510" y="189"/>
                    <a:pt x="511" y="189"/>
                  </a:cubicBezTo>
                  <a:cubicBezTo>
                    <a:pt x="511" y="188"/>
                    <a:pt x="510" y="186"/>
                    <a:pt x="511" y="185"/>
                  </a:cubicBezTo>
                  <a:cubicBezTo>
                    <a:pt x="513" y="185"/>
                    <a:pt x="513" y="186"/>
                    <a:pt x="513" y="188"/>
                  </a:cubicBezTo>
                  <a:cubicBezTo>
                    <a:pt x="513" y="189"/>
                    <a:pt x="517" y="189"/>
                    <a:pt x="515" y="192"/>
                  </a:cubicBezTo>
                  <a:cubicBezTo>
                    <a:pt x="514" y="193"/>
                    <a:pt x="513" y="191"/>
                    <a:pt x="512" y="191"/>
                  </a:cubicBezTo>
                  <a:cubicBezTo>
                    <a:pt x="510" y="192"/>
                    <a:pt x="510" y="194"/>
                    <a:pt x="508" y="195"/>
                  </a:cubicBezTo>
                  <a:cubicBezTo>
                    <a:pt x="507" y="195"/>
                    <a:pt x="506" y="194"/>
                    <a:pt x="505" y="195"/>
                  </a:cubicBezTo>
                  <a:cubicBezTo>
                    <a:pt x="502" y="195"/>
                    <a:pt x="503" y="198"/>
                    <a:pt x="499" y="197"/>
                  </a:cubicBezTo>
                  <a:cubicBezTo>
                    <a:pt x="497" y="196"/>
                    <a:pt x="497" y="200"/>
                    <a:pt x="496" y="201"/>
                  </a:cubicBezTo>
                  <a:cubicBezTo>
                    <a:pt x="496" y="201"/>
                    <a:pt x="495" y="200"/>
                    <a:pt x="495" y="199"/>
                  </a:cubicBezTo>
                  <a:cubicBezTo>
                    <a:pt x="493" y="201"/>
                    <a:pt x="493" y="203"/>
                    <a:pt x="489" y="203"/>
                  </a:cubicBezTo>
                  <a:cubicBezTo>
                    <a:pt x="491" y="201"/>
                    <a:pt x="489" y="201"/>
                    <a:pt x="489" y="198"/>
                  </a:cubicBezTo>
                  <a:cubicBezTo>
                    <a:pt x="491" y="197"/>
                    <a:pt x="493" y="194"/>
                    <a:pt x="495" y="197"/>
                  </a:cubicBezTo>
                  <a:cubicBezTo>
                    <a:pt x="496" y="193"/>
                    <a:pt x="493" y="193"/>
                    <a:pt x="492" y="192"/>
                  </a:cubicBezTo>
                  <a:cubicBezTo>
                    <a:pt x="489" y="191"/>
                    <a:pt x="487" y="196"/>
                    <a:pt x="485" y="196"/>
                  </a:cubicBezTo>
                  <a:cubicBezTo>
                    <a:pt x="485" y="196"/>
                    <a:pt x="482" y="197"/>
                    <a:pt x="481" y="197"/>
                  </a:cubicBezTo>
                  <a:cubicBezTo>
                    <a:pt x="480" y="197"/>
                    <a:pt x="480" y="198"/>
                    <a:pt x="480" y="199"/>
                  </a:cubicBezTo>
                  <a:cubicBezTo>
                    <a:pt x="473" y="198"/>
                    <a:pt x="474" y="203"/>
                    <a:pt x="468" y="201"/>
                  </a:cubicBezTo>
                  <a:cubicBezTo>
                    <a:pt x="470" y="202"/>
                    <a:pt x="471" y="203"/>
                    <a:pt x="466" y="203"/>
                  </a:cubicBezTo>
                  <a:cubicBezTo>
                    <a:pt x="463" y="205"/>
                    <a:pt x="462" y="211"/>
                    <a:pt x="466" y="212"/>
                  </a:cubicBezTo>
                  <a:cubicBezTo>
                    <a:pt x="466" y="215"/>
                    <a:pt x="463" y="214"/>
                    <a:pt x="464" y="217"/>
                  </a:cubicBezTo>
                  <a:cubicBezTo>
                    <a:pt x="462" y="217"/>
                    <a:pt x="461" y="217"/>
                    <a:pt x="460" y="217"/>
                  </a:cubicBezTo>
                  <a:cubicBezTo>
                    <a:pt x="459" y="217"/>
                    <a:pt x="459" y="219"/>
                    <a:pt x="458" y="219"/>
                  </a:cubicBezTo>
                  <a:cubicBezTo>
                    <a:pt x="455" y="220"/>
                    <a:pt x="452" y="220"/>
                    <a:pt x="451" y="222"/>
                  </a:cubicBezTo>
                  <a:cubicBezTo>
                    <a:pt x="450" y="223"/>
                    <a:pt x="449" y="223"/>
                    <a:pt x="448" y="224"/>
                  </a:cubicBezTo>
                  <a:cubicBezTo>
                    <a:pt x="447" y="226"/>
                    <a:pt x="447" y="228"/>
                    <a:pt x="445" y="230"/>
                  </a:cubicBezTo>
                  <a:cubicBezTo>
                    <a:pt x="444" y="231"/>
                    <a:pt x="441" y="231"/>
                    <a:pt x="442" y="236"/>
                  </a:cubicBezTo>
                  <a:cubicBezTo>
                    <a:pt x="440" y="235"/>
                    <a:pt x="440" y="233"/>
                    <a:pt x="438" y="232"/>
                  </a:cubicBezTo>
                  <a:cubicBezTo>
                    <a:pt x="436" y="233"/>
                    <a:pt x="437" y="235"/>
                    <a:pt x="435" y="235"/>
                  </a:cubicBezTo>
                  <a:cubicBezTo>
                    <a:pt x="440" y="239"/>
                    <a:pt x="439" y="243"/>
                    <a:pt x="440" y="250"/>
                  </a:cubicBezTo>
                  <a:cubicBezTo>
                    <a:pt x="437" y="249"/>
                    <a:pt x="438" y="252"/>
                    <a:pt x="438" y="252"/>
                  </a:cubicBezTo>
                  <a:cubicBezTo>
                    <a:pt x="437" y="253"/>
                    <a:pt x="436" y="252"/>
                    <a:pt x="435" y="252"/>
                  </a:cubicBezTo>
                  <a:cubicBezTo>
                    <a:pt x="434" y="253"/>
                    <a:pt x="434" y="254"/>
                    <a:pt x="433" y="255"/>
                  </a:cubicBezTo>
                  <a:cubicBezTo>
                    <a:pt x="432" y="256"/>
                    <a:pt x="430" y="258"/>
                    <a:pt x="429" y="258"/>
                  </a:cubicBezTo>
                  <a:cubicBezTo>
                    <a:pt x="428" y="259"/>
                    <a:pt x="426" y="258"/>
                    <a:pt x="425" y="259"/>
                  </a:cubicBezTo>
                  <a:cubicBezTo>
                    <a:pt x="422" y="260"/>
                    <a:pt x="421" y="263"/>
                    <a:pt x="420" y="265"/>
                  </a:cubicBezTo>
                  <a:cubicBezTo>
                    <a:pt x="417" y="265"/>
                    <a:pt x="417" y="269"/>
                    <a:pt x="414" y="269"/>
                  </a:cubicBezTo>
                  <a:cubicBezTo>
                    <a:pt x="415" y="273"/>
                    <a:pt x="411" y="282"/>
                    <a:pt x="416" y="282"/>
                  </a:cubicBezTo>
                  <a:cubicBezTo>
                    <a:pt x="414" y="286"/>
                    <a:pt x="418" y="286"/>
                    <a:pt x="418" y="292"/>
                  </a:cubicBezTo>
                  <a:cubicBezTo>
                    <a:pt x="418" y="293"/>
                    <a:pt x="419" y="293"/>
                    <a:pt x="420" y="294"/>
                  </a:cubicBezTo>
                  <a:cubicBezTo>
                    <a:pt x="418" y="297"/>
                    <a:pt x="420" y="297"/>
                    <a:pt x="420" y="302"/>
                  </a:cubicBezTo>
                  <a:cubicBezTo>
                    <a:pt x="418" y="302"/>
                    <a:pt x="416" y="303"/>
                    <a:pt x="415" y="304"/>
                  </a:cubicBezTo>
                  <a:cubicBezTo>
                    <a:pt x="413" y="304"/>
                    <a:pt x="415" y="302"/>
                    <a:pt x="414" y="301"/>
                  </a:cubicBezTo>
                  <a:cubicBezTo>
                    <a:pt x="413" y="299"/>
                    <a:pt x="412" y="300"/>
                    <a:pt x="411" y="299"/>
                  </a:cubicBezTo>
                  <a:cubicBezTo>
                    <a:pt x="410" y="299"/>
                    <a:pt x="410" y="296"/>
                    <a:pt x="408" y="297"/>
                  </a:cubicBezTo>
                  <a:cubicBezTo>
                    <a:pt x="409" y="294"/>
                    <a:pt x="410" y="292"/>
                    <a:pt x="406" y="291"/>
                  </a:cubicBezTo>
                  <a:cubicBezTo>
                    <a:pt x="408" y="286"/>
                    <a:pt x="405" y="286"/>
                    <a:pt x="405" y="281"/>
                  </a:cubicBezTo>
                  <a:cubicBezTo>
                    <a:pt x="404" y="281"/>
                    <a:pt x="403" y="282"/>
                    <a:pt x="402" y="282"/>
                  </a:cubicBezTo>
                  <a:cubicBezTo>
                    <a:pt x="402" y="281"/>
                    <a:pt x="402" y="280"/>
                    <a:pt x="402" y="279"/>
                  </a:cubicBezTo>
                  <a:cubicBezTo>
                    <a:pt x="400" y="280"/>
                    <a:pt x="394" y="281"/>
                    <a:pt x="393" y="279"/>
                  </a:cubicBezTo>
                  <a:cubicBezTo>
                    <a:pt x="392" y="278"/>
                    <a:pt x="392" y="277"/>
                    <a:pt x="391" y="277"/>
                  </a:cubicBezTo>
                  <a:cubicBezTo>
                    <a:pt x="390" y="277"/>
                    <a:pt x="388" y="279"/>
                    <a:pt x="386" y="278"/>
                  </a:cubicBezTo>
                  <a:cubicBezTo>
                    <a:pt x="386" y="278"/>
                    <a:pt x="390" y="274"/>
                    <a:pt x="386" y="276"/>
                  </a:cubicBezTo>
                  <a:cubicBezTo>
                    <a:pt x="385" y="276"/>
                    <a:pt x="386" y="277"/>
                    <a:pt x="385" y="277"/>
                  </a:cubicBezTo>
                  <a:cubicBezTo>
                    <a:pt x="382" y="277"/>
                    <a:pt x="377" y="277"/>
                    <a:pt x="374" y="276"/>
                  </a:cubicBezTo>
                  <a:cubicBezTo>
                    <a:pt x="371" y="276"/>
                    <a:pt x="373" y="280"/>
                    <a:pt x="373" y="282"/>
                  </a:cubicBezTo>
                  <a:cubicBezTo>
                    <a:pt x="366" y="281"/>
                    <a:pt x="359" y="280"/>
                    <a:pt x="352" y="279"/>
                  </a:cubicBezTo>
                  <a:cubicBezTo>
                    <a:pt x="351" y="280"/>
                    <a:pt x="350" y="281"/>
                    <a:pt x="349" y="281"/>
                  </a:cubicBezTo>
                  <a:cubicBezTo>
                    <a:pt x="348" y="281"/>
                    <a:pt x="349" y="283"/>
                    <a:pt x="347" y="283"/>
                  </a:cubicBezTo>
                  <a:cubicBezTo>
                    <a:pt x="346" y="283"/>
                    <a:pt x="346" y="284"/>
                    <a:pt x="346" y="285"/>
                  </a:cubicBezTo>
                  <a:cubicBezTo>
                    <a:pt x="344" y="286"/>
                    <a:pt x="343" y="285"/>
                    <a:pt x="341" y="285"/>
                  </a:cubicBezTo>
                  <a:cubicBezTo>
                    <a:pt x="340" y="286"/>
                    <a:pt x="340" y="288"/>
                    <a:pt x="338" y="288"/>
                  </a:cubicBezTo>
                  <a:cubicBezTo>
                    <a:pt x="338" y="290"/>
                    <a:pt x="336" y="295"/>
                    <a:pt x="339" y="296"/>
                  </a:cubicBezTo>
                  <a:cubicBezTo>
                    <a:pt x="338" y="297"/>
                    <a:pt x="337" y="299"/>
                    <a:pt x="335" y="301"/>
                  </a:cubicBezTo>
                  <a:cubicBezTo>
                    <a:pt x="335" y="304"/>
                    <a:pt x="335" y="307"/>
                    <a:pt x="335" y="310"/>
                  </a:cubicBezTo>
                  <a:cubicBezTo>
                    <a:pt x="335" y="312"/>
                    <a:pt x="336" y="312"/>
                    <a:pt x="336" y="314"/>
                  </a:cubicBezTo>
                  <a:cubicBezTo>
                    <a:pt x="337" y="316"/>
                    <a:pt x="337" y="320"/>
                    <a:pt x="335" y="322"/>
                  </a:cubicBezTo>
                  <a:cubicBezTo>
                    <a:pt x="335" y="324"/>
                    <a:pt x="338" y="322"/>
                    <a:pt x="339" y="323"/>
                  </a:cubicBezTo>
                  <a:cubicBezTo>
                    <a:pt x="339" y="323"/>
                    <a:pt x="337" y="325"/>
                    <a:pt x="338" y="325"/>
                  </a:cubicBezTo>
                  <a:cubicBezTo>
                    <a:pt x="337" y="325"/>
                    <a:pt x="339" y="326"/>
                    <a:pt x="339" y="326"/>
                  </a:cubicBezTo>
                  <a:cubicBezTo>
                    <a:pt x="339" y="328"/>
                    <a:pt x="340" y="327"/>
                    <a:pt x="341" y="328"/>
                  </a:cubicBezTo>
                  <a:cubicBezTo>
                    <a:pt x="341" y="328"/>
                    <a:pt x="341" y="330"/>
                    <a:pt x="341" y="330"/>
                  </a:cubicBezTo>
                  <a:cubicBezTo>
                    <a:pt x="341" y="330"/>
                    <a:pt x="342" y="330"/>
                    <a:pt x="342" y="330"/>
                  </a:cubicBezTo>
                  <a:cubicBezTo>
                    <a:pt x="342" y="330"/>
                    <a:pt x="342" y="332"/>
                    <a:pt x="342" y="332"/>
                  </a:cubicBezTo>
                  <a:cubicBezTo>
                    <a:pt x="343" y="333"/>
                    <a:pt x="346" y="335"/>
                    <a:pt x="346" y="337"/>
                  </a:cubicBezTo>
                  <a:cubicBezTo>
                    <a:pt x="355" y="338"/>
                    <a:pt x="360" y="335"/>
                    <a:pt x="365" y="337"/>
                  </a:cubicBezTo>
                  <a:cubicBezTo>
                    <a:pt x="366" y="337"/>
                    <a:pt x="366" y="336"/>
                    <a:pt x="367" y="335"/>
                  </a:cubicBezTo>
                  <a:cubicBezTo>
                    <a:pt x="368" y="333"/>
                    <a:pt x="370" y="331"/>
                    <a:pt x="371" y="329"/>
                  </a:cubicBezTo>
                  <a:cubicBezTo>
                    <a:pt x="371" y="328"/>
                    <a:pt x="372" y="327"/>
                    <a:pt x="371" y="326"/>
                  </a:cubicBezTo>
                  <a:cubicBezTo>
                    <a:pt x="374" y="323"/>
                    <a:pt x="382" y="320"/>
                    <a:pt x="388" y="323"/>
                  </a:cubicBezTo>
                  <a:cubicBezTo>
                    <a:pt x="385" y="326"/>
                    <a:pt x="385" y="331"/>
                    <a:pt x="382" y="334"/>
                  </a:cubicBezTo>
                  <a:cubicBezTo>
                    <a:pt x="381" y="337"/>
                    <a:pt x="384" y="337"/>
                    <a:pt x="383" y="339"/>
                  </a:cubicBezTo>
                  <a:cubicBezTo>
                    <a:pt x="381" y="340"/>
                    <a:pt x="380" y="343"/>
                    <a:pt x="379" y="345"/>
                  </a:cubicBezTo>
                  <a:cubicBezTo>
                    <a:pt x="378" y="346"/>
                    <a:pt x="379" y="347"/>
                    <a:pt x="378" y="346"/>
                  </a:cubicBezTo>
                  <a:cubicBezTo>
                    <a:pt x="377" y="349"/>
                    <a:pt x="383" y="346"/>
                    <a:pt x="381" y="350"/>
                  </a:cubicBezTo>
                  <a:cubicBezTo>
                    <a:pt x="384" y="350"/>
                    <a:pt x="385" y="348"/>
                    <a:pt x="388" y="349"/>
                  </a:cubicBezTo>
                  <a:cubicBezTo>
                    <a:pt x="388" y="351"/>
                    <a:pt x="390" y="351"/>
                    <a:pt x="391" y="352"/>
                  </a:cubicBezTo>
                  <a:cubicBezTo>
                    <a:pt x="397" y="350"/>
                    <a:pt x="397" y="354"/>
                    <a:pt x="405" y="354"/>
                  </a:cubicBezTo>
                  <a:cubicBezTo>
                    <a:pt x="402" y="357"/>
                    <a:pt x="406" y="360"/>
                    <a:pt x="402" y="362"/>
                  </a:cubicBezTo>
                  <a:cubicBezTo>
                    <a:pt x="405" y="365"/>
                    <a:pt x="403" y="372"/>
                    <a:pt x="402" y="375"/>
                  </a:cubicBezTo>
                  <a:cubicBezTo>
                    <a:pt x="403" y="377"/>
                    <a:pt x="404" y="377"/>
                    <a:pt x="407" y="377"/>
                  </a:cubicBezTo>
                  <a:cubicBezTo>
                    <a:pt x="406" y="380"/>
                    <a:pt x="409" y="379"/>
                    <a:pt x="409" y="381"/>
                  </a:cubicBezTo>
                  <a:cubicBezTo>
                    <a:pt x="409" y="382"/>
                    <a:pt x="413" y="381"/>
                    <a:pt x="413" y="383"/>
                  </a:cubicBezTo>
                  <a:cubicBezTo>
                    <a:pt x="417" y="380"/>
                    <a:pt x="424" y="384"/>
                    <a:pt x="427" y="382"/>
                  </a:cubicBezTo>
                  <a:cubicBezTo>
                    <a:pt x="427" y="383"/>
                    <a:pt x="427" y="383"/>
                    <a:pt x="427" y="384"/>
                  </a:cubicBezTo>
                  <a:cubicBezTo>
                    <a:pt x="429" y="384"/>
                    <a:pt x="433" y="382"/>
                    <a:pt x="433" y="385"/>
                  </a:cubicBezTo>
                  <a:cubicBezTo>
                    <a:pt x="434" y="385"/>
                    <a:pt x="435" y="384"/>
                    <a:pt x="436" y="384"/>
                  </a:cubicBezTo>
                  <a:cubicBezTo>
                    <a:pt x="437" y="383"/>
                    <a:pt x="438" y="383"/>
                    <a:pt x="439" y="382"/>
                  </a:cubicBezTo>
                  <a:cubicBezTo>
                    <a:pt x="439" y="381"/>
                    <a:pt x="440" y="382"/>
                    <a:pt x="440" y="381"/>
                  </a:cubicBezTo>
                  <a:cubicBezTo>
                    <a:pt x="440" y="379"/>
                    <a:pt x="442" y="381"/>
                    <a:pt x="442" y="379"/>
                  </a:cubicBezTo>
                  <a:cubicBezTo>
                    <a:pt x="442" y="379"/>
                    <a:pt x="442" y="377"/>
                    <a:pt x="442" y="377"/>
                  </a:cubicBezTo>
                  <a:cubicBezTo>
                    <a:pt x="443" y="376"/>
                    <a:pt x="444" y="378"/>
                    <a:pt x="443" y="378"/>
                  </a:cubicBezTo>
                  <a:cubicBezTo>
                    <a:pt x="444" y="378"/>
                    <a:pt x="445" y="377"/>
                    <a:pt x="446" y="376"/>
                  </a:cubicBezTo>
                  <a:cubicBezTo>
                    <a:pt x="447" y="375"/>
                    <a:pt x="449" y="374"/>
                    <a:pt x="451" y="372"/>
                  </a:cubicBezTo>
                  <a:cubicBezTo>
                    <a:pt x="451" y="372"/>
                    <a:pt x="452" y="371"/>
                    <a:pt x="452" y="370"/>
                  </a:cubicBezTo>
                  <a:cubicBezTo>
                    <a:pt x="453" y="371"/>
                    <a:pt x="465" y="372"/>
                    <a:pt x="459" y="374"/>
                  </a:cubicBezTo>
                  <a:cubicBezTo>
                    <a:pt x="459" y="375"/>
                    <a:pt x="462" y="375"/>
                    <a:pt x="464" y="375"/>
                  </a:cubicBezTo>
                  <a:cubicBezTo>
                    <a:pt x="465" y="375"/>
                    <a:pt x="464" y="373"/>
                    <a:pt x="465" y="372"/>
                  </a:cubicBezTo>
                  <a:cubicBezTo>
                    <a:pt x="468" y="372"/>
                    <a:pt x="471" y="372"/>
                    <a:pt x="474" y="372"/>
                  </a:cubicBezTo>
                  <a:cubicBezTo>
                    <a:pt x="472" y="376"/>
                    <a:pt x="479" y="375"/>
                    <a:pt x="482" y="376"/>
                  </a:cubicBezTo>
                  <a:cubicBezTo>
                    <a:pt x="483" y="376"/>
                    <a:pt x="482" y="377"/>
                    <a:pt x="484" y="377"/>
                  </a:cubicBezTo>
                  <a:cubicBezTo>
                    <a:pt x="484" y="377"/>
                    <a:pt x="485" y="378"/>
                    <a:pt x="486" y="378"/>
                  </a:cubicBezTo>
                  <a:cubicBezTo>
                    <a:pt x="488" y="379"/>
                    <a:pt x="489" y="377"/>
                    <a:pt x="491" y="377"/>
                  </a:cubicBezTo>
                  <a:cubicBezTo>
                    <a:pt x="496" y="376"/>
                    <a:pt x="502" y="378"/>
                    <a:pt x="508" y="378"/>
                  </a:cubicBezTo>
                  <a:cubicBezTo>
                    <a:pt x="508" y="381"/>
                    <a:pt x="509" y="383"/>
                    <a:pt x="509" y="381"/>
                  </a:cubicBezTo>
                  <a:cubicBezTo>
                    <a:pt x="511" y="381"/>
                    <a:pt x="510" y="382"/>
                    <a:pt x="509" y="382"/>
                  </a:cubicBezTo>
                  <a:cubicBezTo>
                    <a:pt x="509" y="385"/>
                    <a:pt x="512" y="382"/>
                    <a:pt x="514" y="384"/>
                  </a:cubicBezTo>
                  <a:cubicBezTo>
                    <a:pt x="514" y="384"/>
                    <a:pt x="514" y="386"/>
                    <a:pt x="514" y="387"/>
                  </a:cubicBezTo>
                  <a:cubicBezTo>
                    <a:pt x="515" y="387"/>
                    <a:pt x="517" y="386"/>
                    <a:pt x="519" y="387"/>
                  </a:cubicBezTo>
                  <a:cubicBezTo>
                    <a:pt x="518" y="389"/>
                    <a:pt x="520" y="390"/>
                    <a:pt x="521" y="391"/>
                  </a:cubicBezTo>
                  <a:cubicBezTo>
                    <a:pt x="523" y="393"/>
                    <a:pt x="525" y="394"/>
                    <a:pt x="526" y="397"/>
                  </a:cubicBezTo>
                  <a:cubicBezTo>
                    <a:pt x="533" y="397"/>
                    <a:pt x="536" y="401"/>
                    <a:pt x="542" y="398"/>
                  </a:cubicBezTo>
                  <a:cubicBezTo>
                    <a:pt x="541" y="403"/>
                    <a:pt x="549" y="398"/>
                    <a:pt x="547" y="403"/>
                  </a:cubicBezTo>
                  <a:cubicBezTo>
                    <a:pt x="551" y="401"/>
                    <a:pt x="551" y="406"/>
                    <a:pt x="554" y="407"/>
                  </a:cubicBezTo>
                  <a:cubicBezTo>
                    <a:pt x="555" y="407"/>
                    <a:pt x="555" y="410"/>
                    <a:pt x="558" y="409"/>
                  </a:cubicBezTo>
                  <a:cubicBezTo>
                    <a:pt x="554" y="412"/>
                    <a:pt x="559" y="411"/>
                    <a:pt x="559" y="415"/>
                  </a:cubicBezTo>
                  <a:cubicBezTo>
                    <a:pt x="559" y="417"/>
                    <a:pt x="561" y="416"/>
                    <a:pt x="562" y="417"/>
                  </a:cubicBezTo>
                  <a:cubicBezTo>
                    <a:pt x="563" y="418"/>
                    <a:pt x="562" y="420"/>
                    <a:pt x="565" y="419"/>
                  </a:cubicBezTo>
                  <a:cubicBezTo>
                    <a:pt x="560" y="424"/>
                    <a:pt x="571" y="425"/>
                    <a:pt x="567" y="429"/>
                  </a:cubicBezTo>
                  <a:cubicBezTo>
                    <a:pt x="569" y="429"/>
                    <a:pt x="571" y="429"/>
                    <a:pt x="571" y="431"/>
                  </a:cubicBezTo>
                  <a:cubicBezTo>
                    <a:pt x="577" y="430"/>
                    <a:pt x="585" y="432"/>
                    <a:pt x="587" y="437"/>
                  </a:cubicBezTo>
                  <a:cubicBezTo>
                    <a:pt x="593" y="437"/>
                    <a:pt x="596" y="439"/>
                    <a:pt x="602" y="438"/>
                  </a:cubicBezTo>
                  <a:cubicBezTo>
                    <a:pt x="603" y="439"/>
                    <a:pt x="600" y="440"/>
                    <a:pt x="600" y="440"/>
                  </a:cubicBezTo>
                  <a:cubicBezTo>
                    <a:pt x="601" y="442"/>
                    <a:pt x="609" y="440"/>
                    <a:pt x="613" y="441"/>
                  </a:cubicBezTo>
                  <a:cubicBezTo>
                    <a:pt x="613" y="442"/>
                    <a:pt x="614" y="442"/>
                    <a:pt x="615" y="442"/>
                  </a:cubicBezTo>
                  <a:cubicBezTo>
                    <a:pt x="615" y="444"/>
                    <a:pt x="618" y="443"/>
                    <a:pt x="619" y="444"/>
                  </a:cubicBezTo>
                  <a:cubicBezTo>
                    <a:pt x="619" y="445"/>
                    <a:pt x="619" y="446"/>
                    <a:pt x="619" y="447"/>
                  </a:cubicBezTo>
                  <a:cubicBezTo>
                    <a:pt x="619" y="447"/>
                    <a:pt x="621" y="446"/>
                    <a:pt x="621" y="447"/>
                  </a:cubicBezTo>
                  <a:cubicBezTo>
                    <a:pt x="622" y="447"/>
                    <a:pt x="621" y="450"/>
                    <a:pt x="624" y="449"/>
                  </a:cubicBezTo>
                  <a:cubicBezTo>
                    <a:pt x="624" y="461"/>
                    <a:pt x="624" y="473"/>
                    <a:pt x="624" y="485"/>
                  </a:cubicBezTo>
                  <a:cubicBezTo>
                    <a:pt x="619" y="484"/>
                    <a:pt x="624" y="492"/>
                    <a:pt x="619" y="490"/>
                  </a:cubicBezTo>
                  <a:cubicBezTo>
                    <a:pt x="618" y="494"/>
                    <a:pt x="618" y="498"/>
                    <a:pt x="618" y="502"/>
                  </a:cubicBezTo>
                  <a:cubicBezTo>
                    <a:pt x="618" y="504"/>
                    <a:pt x="620" y="509"/>
                    <a:pt x="619" y="514"/>
                  </a:cubicBezTo>
                  <a:cubicBezTo>
                    <a:pt x="619" y="514"/>
                    <a:pt x="618" y="514"/>
                    <a:pt x="618" y="515"/>
                  </a:cubicBezTo>
                  <a:cubicBezTo>
                    <a:pt x="618" y="515"/>
                    <a:pt x="618" y="517"/>
                    <a:pt x="618" y="517"/>
                  </a:cubicBezTo>
                  <a:cubicBezTo>
                    <a:pt x="617" y="518"/>
                    <a:pt x="614" y="519"/>
                    <a:pt x="615" y="523"/>
                  </a:cubicBezTo>
                  <a:cubicBezTo>
                    <a:pt x="613" y="524"/>
                    <a:pt x="612" y="526"/>
                    <a:pt x="610" y="527"/>
                  </a:cubicBezTo>
                  <a:cubicBezTo>
                    <a:pt x="609" y="527"/>
                    <a:pt x="610" y="529"/>
                    <a:pt x="610" y="530"/>
                  </a:cubicBezTo>
                  <a:cubicBezTo>
                    <a:pt x="609" y="531"/>
                    <a:pt x="607" y="530"/>
                    <a:pt x="607" y="530"/>
                  </a:cubicBezTo>
                  <a:cubicBezTo>
                    <a:pt x="607" y="531"/>
                    <a:pt x="608" y="532"/>
                    <a:pt x="607" y="533"/>
                  </a:cubicBezTo>
                  <a:cubicBezTo>
                    <a:pt x="606" y="533"/>
                    <a:pt x="603" y="533"/>
                    <a:pt x="602" y="535"/>
                  </a:cubicBezTo>
                  <a:cubicBezTo>
                    <a:pt x="602" y="536"/>
                    <a:pt x="600" y="536"/>
                    <a:pt x="598" y="537"/>
                  </a:cubicBezTo>
                  <a:cubicBezTo>
                    <a:pt x="597" y="538"/>
                    <a:pt x="596" y="539"/>
                    <a:pt x="595" y="540"/>
                  </a:cubicBezTo>
                  <a:cubicBezTo>
                    <a:pt x="595" y="540"/>
                    <a:pt x="594" y="538"/>
                    <a:pt x="593" y="538"/>
                  </a:cubicBezTo>
                  <a:cubicBezTo>
                    <a:pt x="593" y="538"/>
                    <a:pt x="593" y="540"/>
                    <a:pt x="592" y="540"/>
                  </a:cubicBezTo>
                  <a:cubicBezTo>
                    <a:pt x="590" y="540"/>
                    <a:pt x="590" y="540"/>
                    <a:pt x="589" y="542"/>
                  </a:cubicBezTo>
                  <a:cubicBezTo>
                    <a:pt x="585" y="540"/>
                    <a:pt x="582" y="545"/>
                    <a:pt x="580" y="547"/>
                  </a:cubicBezTo>
                  <a:cubicBezTo>
                    <a:pt x="580" y="547"/>
                    <a:pt x="578" y="546"/>
                    <a:pt x="578" y="547"/>
                  </a:cubicBezTo>
                  <a:cubicBezTo>
                    <a:pt x="577" y="547"/>
                    <a:pt x="576" y="548"/>
                    <a:pt x="575" y="549"/>
                  </a:cubicBezTo>
                  <a:cubicBezTo>
                    <a:pt x="575" y="550"/>
                    <a:pt x="573" y="551"/>
                    <a:pt x="573" y="551"/>
                  </a:cubicBezTo>
                  <a:cubicBezTo>
                    <a:pt x="573" y="552"/>
                    <a:pt x="575" y="555"/>
                    <a:pt x="572" y="554"/>
                  </a:cubicBezTo>
                  <a:cubicBezTo>
                    <a:pt x="573" y="559"/>
                    <a:pt x="570" y="561"/>
                    <a:pt x="571" y="567"/>
                  </a:cubicBezTo>
                  <a:cubicBezTo>
                    <a:pt x="567" y="566"/>
                    <a:pt x="569" y="569"/>
                    <a:pt x="568" y="570"/>
                  </a:cubicBezTo>
                  <a:cubicBezTo>
                    <a:pt x="568" y="570"/>
                    <a:pt x="566" y="570"/>
                    <a:pt x="566" y="570"/>
                  </a:cubicBezTo>
                  <a:cubicBezTo>
                    <a:pt x="566" y="571"/>
                    <a:pt x="568" y="572"/>
                    <a:pt x="566" y="573"/>
                  </a:cubicBezTo>
                  <a:cubicBezTo>
                    <a:pt x="564" y="573"/>
                    <a:pt x="564" y="577"/>
                    <a:pt x="561" y="577"/>
                  </a:cubicBezTo>
                  <a:cubicBezTo>
                    <a:pt x="561" y="577"/>
                    <a:pt x="559" y="579"/>
                    <a:pt x="559" y="580"/>
                  </a:cubicBezTo>
                  <a:cubicBezTo>
                    <a:pt x="558" y="581"/>
                    <a:pt x="556" y="585"/>
                    <a:pt x="553" y="587"/>
                  </a:cubicBezTo>
                  <a:cubicBezTo>
                    <a:pt x="553" y="588"/>
                    <a:pt x="553" y="590"/>
                    <a:pt x="553" y="591"/>
                  </a:cubicBezTo>
                  <a:cubicBezTo>
                    <a:pt x="551" y="592"/>
                    <a:pt x="549" y="593"/>
                    <a:pt x="549" y="596"/>
                  </a:cubicBezTo>
                  <a:cubicBezTo>
                    <a:pt x="547" y="596"/>
                    <a:pt x="546" y="596"/>
                    <a:pt x="544" y="596"/>
                  </a:cubicBezTo>
                  <a:cubicBezTo>
                    <a:pt x="544" y="597"/>
                    <a:pt x="545" y="597"/>
                    <a:pt x="546" y="597"/>
                  </a:cubicBezTo>
                  <a:cubicBezTo>
                    <a:pt x="546" y="599"/>
                    <a:pt x="544" y="598"/>
                    <a:pt x="542" y="598"/>
                  </a:cubicBezTo>
                  <a:cubicBezTo>
                    <a:pt x="541" y="599"/>
                    <a:pt x="540" y="601"/>
                    <a:pt x="540" y="603"/>
                  </a:cubicBezTo>
                  <a:cubicBezTo>
                    <a:pt x="539" y="602"/>
                    <a:pt x="538" y="602"/>
                    <a:pt x="538" y="604"/>
                  </a:cubicBezTo>
                  <a:cubicBezTo>
                    <a:pt x="537" y="604"/>
                    <a:pt x="537" y="603"/>
                    <a:pt x="537" y="602"/>
                  </a:cubicBezTo>
                  <a:cubicBezTo>
                    <a:pt x="535" y="602"/>
                    <a:pt x="533" y="602"/>
                    <a:pt x="533" y="601"/>
                  </a:cubicBezTo>
                  <a:cubicBezTo>
                    <a:pt x="532" y="602"/>
                    <a:pt x="532" y="604"/>
                    <a:pt x="529" y="603"/>
                  </a:cubicBezTo>
                  <a:cubicBezTo>
                    <a:pt x="529" y="606"/>
                    <a:pt x="532" y="607"/>
                    <a:pt x="532" y="609"/>
                  </a:cubicBezTo>
                  <a:cubicBezTo>
                    <a:pt x="532" y="612"/>
                    <a:pt x="528" y="614"/>
                    <a:pt x="531" y="616"/>
                  </a:cubicBezTo>
                  <a:cubicBezTo>
                    <a:pt x="530" y="619"/>
                    <a:pt x="524" y="616"/>
                    <a:pt x="524" y="618"/>
                  </a:cubicBezTo>
                  <a:cubicBezTo>
                    <a:pt x="522" y="618"/>
                    <a:pt x="523" y="620"/>
                    <a:pt x="522" y="621"/>
                  </a:cubicBezTo>
                  <a:cubicBezTo>
                    <a:pt x="521" y="622"/>
                    <a:pt x="517" y="621"/>
                    <a:pt x="518" y="624"/>
                  </a:cubicBezTo>
                  <a:cubicBezTo>
                    <a:pt x="515" y="622"/>
                    <a:pt x="507" y="622"/>
                    <a:pt x="506" y="626"/>
                  </a:cubicBezTo>
                  <a:cubicBezTo>
                    <a:pt x="506" y="627"/>
                    <a:pt x="507" y="626"/>
                    <a:pt x="507" y="626"/>
                  </a:cubicBezTo>
                  <a:cubicBezTo>
                    <a:pt x="510" y="626"/>
                    <a:pt x="507" y="629"/>
                    <a:pt x="505" y="628"/>
                  </a:cubicBezTo>
                  <a:cubicBezTo>
                    <a:pt x="505" y="631"/>
                    <a:pt x="501" y="634"/>
                    <a:pt x="504" y="635"/>
                  </a:cubicBezTo>
                  <a:cubicBezTo>
                    <a:pt x="504" y="636"/>
                    <a:pt x="502" y="636"/>
                    <a:pt x="501" y="636"/>
                  </a:cubicBezTo>
                  <a:cubicBezTo>
                    <a:pt x="501" y="636"/>
                    <a:pt x="500" y="635"/>
                    <a:pt x="500" y="635"/>
                  </a:cubicBezTo>
                  <a:cubicBezTo>
                    <a:pt x="499" y="635"/>
                    <a:pt x="496" y="638"/>
                    <a:pt x="496" y="634"/>
                  </a:cubicBezTo>
                  <a:cubicBezTo>
                    <a:pt x="495" y="634"/>
                    <a:pt x="495" y="637"/>
                    <a:pt x="494" y="635"/>
                  </a:cubicBezTo>
                  <a:cubicBezTo>
                    <a:pt x="492" y="636"/>
                    <a:pt x="495" y="642"/>
                    <a:pt x="495" y="644"/>
                  </a:cubicBezTo>
                  <a:cubicBezTo>
                    <a:pt x="496" y="647"/>
                    <a:pt x="494" y="647"/>
                    <a:pt x="493" y="649"/>
                  </a:cubicBezTo>
                  <a:cubicBezTo>
                    <a:pt x="493" y="651"/>
                    <a:pt x="493" y="653"/>
                    <a:pt x="489" y="653"/>
                  </a:cubicBezTo>
                  <a:cubicBezTo>
                    <a:pt x="489" y="654"/>
                    <a:pt x="492" y="655"/>
                    <a:pt x="492" y="655"/>
                  </a:cubicBezTo>
                  <a:cubicBezTo>
                    <a:pt x="492" y="657"/>
                    <a:pt x="490" y="655"/>
                    <a:pt x="489" y="655"/>
                  </a:cubicBezTo>
                  <a:cubicBezTo>
                    <a:pt x="489" y="656"/>
                    <a:pt x="488" y="659"/>
                    <a:pt x="489" y="658"/>
                  </a:cubicBezTo>
                  <a:cubicBezTo>
                    <a:pt x="489" y="660"/>
                    <a:pt x="488" y="659"/>
                    <a:pt x="487" y="658"/>
                  </a:cubicBezTo>
                  <a:cubicBezTo>
                    <a:pt x="487" y="659"/>
                    <a:pt x="486" y="660"/>
                    <a:pt x="486" y="660"/>
                  </a:cubicBezTo>
                  <a:cubicBezTo>
                    <a:pt x="484" y="657"/>
                    <a:pt x="486" y="660"/>
                    <a:pt x="485" y="662"/>
                  </a:cubicBezTo>
                  <a:cubicBezTo>
                    <a:pt x="483" y="664"/>
                    <a:pt x="482" y="661"/>
                    <a:pt x="480" y="663"/>
                  </a:cubicBezTo>
                  <a:cubicBezTo>
                    <a:pt x="478" y="666"/>
                    <a:pt x="485" y="666"/>
                    <a:pt x="481" y="668"/>
                  </a:cubicBezTo>
                  <a:cubicBezTo>
                    <a:pt x="481" y="669"/>
                    <a:pt x="483" y="669"/>
                    <a:pt x="485" y="669"/>
                  </a:cubicBezTo>
                  <a:cubicBezTo>
                    <a:pt x="484" y="671"/>
                    <a:pt x="485" y="673"/>
                    <a:pt x="487" y="673"/>
                  </a:cubicBezTo>
                  <a:cubicBezTo>
                    <a:pt x="489" y="675"/>
                    <a:pt x="485" y="676"/>
                    <a:pt x="485" y="677"/>
                  </a:cubicBezTo>
                  <a:cubicBezTo>
                    <a:pt x="485" y="678"/>
                    <a:pt x="485" y="679"/>
                    <a:pt x="486" y="679"/>
                  </a:cubicBezTo>
                  <a:cubicBezTo>
                    <a:pt x="485" y="680"/>
                    <a:pt x="485" y="678"/>
                    <a:pt x="485" y="679"/>
                  </a:cubicBezTo>
                  <a:cubicBezTo>
                    <a:pt x="483" y="679"/>
                    <a:pt x="483" y="681"/>
                    <a:pt x="480" y="681"/>
                  </a:cubicBezTo>
                  <a:cubicBezTo>
                    <a:pt x="482" y="683"/>
                    <a:pt x="481" y="684"/>
                    <a:pt x="478" y="683"/>
                  </a:cubicBezTo>
                  <a:cubicBezTo>
                    <a:pt x="479" y="687"/>
                    <a:pt x="476" y="686"/>
                    <a:pt x="476" y="689"/>
                  </a:cubicBezTo>
                  <a:cubicBezTo>
                    <a:pt x="472" y="690"/>
                    <a:pt x="477" y="694"/>
                    <a:pt x="473" y="691"/>
                  </a:cubicBezTo>
                  <a:cubicBezTo>
                    <a:pt x="474" y="694"/>
                    <a:pt x="472" y="697"/>
                    <a:pt x="473" y="700"/>
                  </a:cubicBezTo>
                  <a:cubicBezTo>
                    <a:pt x="473" y="700"/>
                    <a:pt x="474" y="701"/>
                    <a:pt x="474" y="701"/>
                  </a:cubicBezTo>
                  <a:cubicBezTo>
                    <a:pt x="474" y="703"/>
                    <a:pt x="472" y="703"/>
                    <a:pt x="474" y="706"/>
                  </a:cubicBezTo>
                  <a:cubicBezTo>
                    <a:pt x="476" y="707"/>
                    <a:pt x="474" y="708"/>
                    <a:pt x="475" y="711"/>
                  </a:cubicBezTo>
                  <a:cubicBezTo>
                    <a:pt x="476" y="714"/>
                    <a:pt x="479" y="715"/>
                    <a:pt x="480" y="717"/>
                  </a:cubicBezTo>
                  <a:cubicBezTo>
                    <a:pt x="483" y="720"/>
                    <a:pt x="485" y="716"/>
                    <a:pt x="487" y="719"/>
                  </a:cubicBezTo>
                  <a:cubicBezTo>
                    <a:pt x="488" y="723"/>
                    <a:pt x="484" y="720"/>
                    <a:pt x="481" y="721"/>
                  </a:cubicBezTo>
                  <a:cubicBezTo>
                    <a:pt x="476" y="722"/>
                    <a:pt x="471" y="724"/>
                    <a:pt x="467" y="723"/>
                  </a:cubicBezTo>
                  <a:cubicBezTo>
                    <a:pt x="467" y="723"/>
                    <a:pt x="467" y="721"/>
                    <a:pt x="467" y="721"/>
                  </a:cubicBezTo>
                  <a:cubicBezTo>
                    <a:pt x="462" y="722"/>
                    <a:pt x="460" y="719"/>
                    <a:pt x="456" y="719"/>
                  </a:cubicBezTo>
                  <a:cubicBezTo>
                    <a:pt x="456" y="717"/>
                    <a:pt x="456" y="716"/>
                    <a:pt x="456" y="715"/>
                  </a:cubicBezTo>
                  <a:cubicBezTo>
                    <a:pt x="456" y="712"/>
                    <a:pt x="452" y="714"/>
                    <a:pt x="452" y="711"/>
                  </a:cubicBezTo>
                  <a:cubicBezTo>
                    <a:pt x="452" y="711"/>
                    <a:pt x="451" y="710"/>
                    <a:pt x="451" y="709"/>
                  </a:cubicBezTo>
                  <a:cubicBezTo>
                    <a:pt x="451" y="708"/>
                    <a:pt x="449" y="708"/>
                    <a:pt x="449" y="708"/>
                  </a:cubicBezTo>
                  <a:cubicBezTo>
                    <a:pt x="449" y="707"/>
                    <a:pt x="452" y="705"/>
                    <a:pt x="449" y="704"/>
                  </a:cubicBezTo>
                  <a:cubicBezTo>
                    <a:pt x="448" y="704"/>
                    <a:pt x="449" y="703"/>
                    <a:pt x="449" y="702"/>
                  </a:cubicBezTo>
                  <a:cubicBezTo>
                    <a:pt x="449" y="701"/>
                    <a:pt x="447" y="701"/>
                    <a:pt x="447" y="700"/>
                  </a:cubicBezTo>
                  <a:cubicBezTo>
                    <a:pt x="447" y="699"/>
                    <a:pt x="448" y="698"/>
                    <a:pt x="448" y="697"/>
                  </a:cubicBezTo>
                  <a:cubicBezTo>
                    <a:pt x="448" y="697"/>
                    <a:pt x="447" y="697"/>
                    <a:pt x="447" y="696"/>
                  </a:cubicBezTo>
                  <a:cubicBezTo>
                    <a:pt x="447" y="695"/>
                    <a:pt x="446" y="693"/>
                    <a:pt x="445" y="693"/>
                  </a:cubicBezTo>
                  <a:cubicBezTo>
                    <a:pt x="444" y="691"/>
                    <a:pt x="446" y="690"/>
                    <a:pt x="446" y="689"/>
                  </a:cubicBezTo>
                  <a:cubicBezTo>
                    <a:pt x="446" y="689"/>
                    <a:pt x="444" y="688"/>
                    <a:pt x="443" y="688"/>
                  </a:cubicBezTo>
                  <a:cubicBezTo>
                    <a:pt x="444" y="687"/>
                    <a:pt x="448" y="686"/>
                    <a:pt x="445" y="684"/>
                  </a:cubicBezTo>
                  <a:cubicBezTo>
                    <a:pt x="445" y="683"/>
                    <a:pt x="446" y="683"/>
                    <a:pt x="447" y="683"/>
                  </a:cubicBezTo>
                  <a:cubicBezTo>
                    <a:pt x="447" y="680"/>
                    <a:pt x="447" y="678"/>
                    <a:pt x="447" y="675"/>
                  </a:cubicBezTo>
                  <a:cubicBezTo>
                    <a:pt x="446" y="674"/>
                    <a:pt x="445" y="673"/>
                    <a:pt x="443" y="673"/>
                  </a:cubicBezTo>
                  <a:cubicBezTo>
                    <a:pt x="445" y="669"/>
                    <a:pt x="448" y="666"/>
                    <a:pt x="446" y="662"/>
                  </a:cubicBezTo>
                  <a:cubicBezTo>
                    <a:pt x="449" y="663"/>
                    <a:pt x="449" y="660"/>
                    <a:pt x="452" y="661"/>
                  </a:cubicBezTo>
                  <a:cubicBezTo>
                    <a:pt x="452" y="657"/>
                    <a:pt x="452" y="654"/>
                    <a:pt x="452" y="650"/>
                  </a:cubicBezTo>
                  <a:cubicBezTo>
                    <a:pt x="457" y="650"/>
                    <a:pt x="455" y="643"/>
                    <a:pt x="458" y="640"/>
                  </a:cubicBezTo>
                  <a:cubicBezTo>
                    <a:pt x="457" y="640"/>
                    <a:pt x="456" y="641"/>
                    <a:pt x="455" y="640"/>
                  </a:cubicBezTo>
                  <a:cubicBezTo>
                    <a:pt x="453" y="641"/>
                    <a:pt x="452" y="643"/>
                    <a:pt x="452" y="647"/>
                  </a:cubicBezTo>
                  <a:cubicBezTo>
                    <a:pt x="450" y="646"/>
                    <a:pt x="448" y="645"/>
                    <a:pt x="448" y="642"/>
                  </a:cubicBezTo>
                  <a:cubicBezTo>
                    <a:pt x="446" y="640"/>
                    <a:pt x="452" y="638"/>
                    <a:pt x="451" y="637"/>
                  </a:cubicBezTo>
                  <a:cubicBezTo>
                    <a:pt x="448" y="635"/>
                    <a:pt x="451" y="638"/>
                    <a:pt x="453" y="636"/>
                  </a:cubicBezTo>
                  <a:cubicBezTo>
                    <a:pt x="454" y="630"/>
                    <a:pt x="451" y="625"/>
                    <a:pt x="452" y="620"/>
                  </a:cubicBezTo>
                  <a:cubicBezTo>
                    <a:pt x="452" y="620"/>
                    <a:pt x="454" y="620"/>
                    <a:pt x="454" y="620"/>
                  </a:cubicBezTo>
                  <a:cubicBezTo>
                    <a:pt x="453" y="614"/>
                    <a:pt x="454" y="613"/>
                    <a:pt x="454" y="607"/>
                  </a:cubicBezTo>
                  <a:cubicBezTo>
                    <a:pt x="457" y="603"/>
                    <a:pt x="461" y="600"/>
                    <a:pt x="459" y="595"/>
                  </a:cubicBezTo>
                  <a:cubicBezTo>
                    <a:pt x="463" y="600"/>
                    <a:pt x="459" y="586"/>
                    <a:pt x="464" y="591"/>
                  </a:cubicBezTo>
                  <a:cubicBezTo>
                    <a:pt x="463" y="589"/>
                    <a:pt x="463" y="586"/>
                    <a:pt x="462" y="583"/>
                  </a:cubicBezTo>
                  <a:cubicBezTo>
                    <a:pt x="462" y="582"/>
                    <a:pt x="460" y="580"/>
                    <a:pt x="460" y="578"/>
                  </a:cubicBezTo>
                  <a:cubicBezTo>
                    <a:pt x="460" y="577"/>
                    <a:pt x="461" y="576"/>
                    <a:pt x="461" y="575"/>
                  </a:cubicBezTo>
                  <a:cubicBezTo>
                    <a:pt x="462" y="572"/>
                    <a:pt x="460" y="569"/>
                    <a:pt x="464" y="571"/>
                  </a:cubicBezTo>
                  <a:cubicBezTo>
                    <a:pt x="463" y="568"/>
                    <a:pt x="464" y="565"/>
                    <a:pt x="465" y="562"/>
                  </a:cubicBezTo>
                  <a:cubicBezTo>
                    <a:pt x="466" y="560"/>
                    <a:pt x="465" y="561"/>
                    <a:pt x="465" y="558"/>
                  </a:cubicBezTo>
                  <a:cubicBezTo>
                    <a:pt x="465" y="557"/>
                    <a:pt x="467" y="554"/>
                    <a:pt x="466" y="553"/>
                  </a:cubicBezTo>
                  <a:cubicBezTo>
                    <a:pt x="465" y="552"/>
                    <a:pt x="466" y="551"/>
                    <a:pt x="466" y="549"/>
                  </a:cubicBezTo>
                  <a:cubicBezTo>
                    <a:pt x="466" y="547"/>
                    <a:pt x="466" y="546"/>
                    <a:pt x="466" y="544"/>
                  </a:cubicBezTo>
                  <a:cubicBezTo>
                    <a:pt x="466" y="542"/>
                    <a:pt x="467" y="542"/>
                    <a:pt x="467" y="541"/>
                  </a:cubicBezTo>
                  <a:cubicBezTo>
                    <a:pt x="467" y="536"/>
                    <a:pt x="467" y="532"/>
                    <a:pt x="467" y="528"/>
                  </a:cubicBezTo>
                  <a:cubicBezTo>
                    <a:pt x="467" y="526"/>
                    <a:pt x="468" y="525"/>
                    <a:pt x="468" y="524"/>
                  </a:cubicBezTo>
                  <a:cubicBezTo>
                    <a:pt x="468" y="521"/>
                    <a:pt x="464" y="517"/>
                    <a:pt x="465" y="514"/>
                  </a:cubicBezTo>
                  <a:cubicBezTo>
                    <a:pt x="464" y="512"/>
                    <a:pt x="463" y="514"/>
                    <a:pt x="461" y="514"/>
                  </a:cubicBezTo>
                  <a:cubicBezTo>
                    <a:pt x="460" y="511"/>
                    <a:pt x="456" y="508"/>
                    <a:pt x="453" y="508"/>
                  </a:cubicBezTo>
                  <a:cubicBezTo>
                    <a:pt x="452" y="508"/>
                    <a:pt x="451" y="505"/>
                    <a:pt x="451" y="505"/>
                  </a:cubicBezTo>
                  <a:cubicBezTo>
                    <a:pt x="449" y="507"/>
                    <a:pt x="451" y="505"/>
                    <a:pt x="449" y="504"/>
                  </a:cubicBezTo>
                  <a:cubicBezTo>
                    <a:pt x="448" y="503"/>
                    <a:pt x="444" y="505"/>
                    <a:pt x="447" y="502"/>
                  </a:cubicBezTo>
                  <a:cubicBezTo>
                    <a:pt x="447" y="500"/>
                    <a:pt x="444" y="502"/>
                    <a:pt x="442" y="501"/>
                  </a:cubicBezTo>
                  <a:cubicBezTo>
                    <a:pt x="442" y="500"/>
                    <a:pt x="443" y="499"/>
                    <a:pt x="442" y="498"/>
                  </a:cubicBezTo>
                  <a:cubicBezTo>
                    <a:pt x="442" y="498"/>
                    <a:pt x="440" y="498"/>
                    <a:pt x="440" y="497"/>
                  </a:cubicBezTo>
                  <a:cubicBezTo>
                    <a:pt x="439" y="496"/>
                    <a:pt x="437" y="493"/>
                    <a:pt x="436" y="489"/>
                  </a:cubicBezTo>
                  <a:cubicBezTo>
                    <a:pt x="437" y="488"/>
                    <a:pt x="435" y="488"/>
                    <a:pt x="434" y="488"/>
                  </a:cubicBezTo>
                  <a:cubicBezTo>
                    <a:pt x="433" y="487"/>
                    <a:pt x="434" y="482"/>
                    <a:pt x="432" y="482"/>
                  </a:cubicBezTo>
                  <a:cubicBezTo>
                    <a:pt x="430" y="482"/>
                    <a:pt x="429" y="475"/>
                    <a:pt x="427" y="472"/>
                  </a:cubicBezTo>
                  <a:cubicBezTo>
                    <a:pt x="426" y="471"/>
                    <a:pt x="424" y="468"/>
                    <a:pt x="422" y="465"/>
                  </a:cubicBezTo>
                  <a:cubicBezTo>
                    <a:pt x="422" y="464"/>
                    <a:pt x="420" y="464"/>
                    <a:pt x="420" y="463"/>
                  </a:cubicBezTo>
                  <a:cubicBezTo>
                    <a:pt x="420" y="462"/>
                    <a:pt x="420" y="461"/>
                    <a:pt x="420" y="461"/>
                  </a:cubicBezTo>
                  <a:cubicBezTo>
                    <a:pt x="419" y="460"/>
                    <a:pt x="418" y="460"/>
                    <a:pt x="418" y="460"/>
                  </a:cubicBezTo>
                  <a:cubicBezTo>
                    <a:pt x="418" y="459"/>
                    <a:pt x="416" y="451"/>
                    <a:pt x="415" y="457"/>
                  </a:cubicBezTo>
                  <a:cubicBezTo>
                    <a:pt x="413" y="456"/>
                    <a:pt x="415" y="450"/>
                    <a:pt x="414" y="447"/>
                  </a:cubicBezTo>
                  <a:cubicBezTo>
                    <a:pt x="417" y="447"/>
                    <a:pt x="417" y="443"/>
                    <a:pt x="419" y="442"/>
                  </a:cubicBezTo>
                  <a:cubicBezTo>
                    <a:pt x="420" y="439"/>
                    <a:pt x="416" y="440"/>
                    <a:pt x="415" y="438"/>
                  </a:cubicBezTo>
                  <a:cubicBezTo>
                    <a:pt x="415" y="435"/>
                    <a:pt x="417" y="433"/>
                    <a:pt x="416" y="429"/>
                  </a:cubicBezTo>
                  <a:cubicBezTo>
                    <a:pt x="417" y="428"/>
                    <a:pt x="418" y="428"/>
                    <a:pt x="420" y="428"/>
                  </a:cubicBezTo>
                  <a:cubicBezTo>
                    <a:pt x="420" y="427"/>
                    <a:pt x="419" y="425"/>
                    <a:pt x="420" y="424"/>
                  </a:cubicBezTo>
                  <a:cubicBezTo>
                    <a:pt x="420" y="424"/>
                    <a:pt x="422" y="425"/>
                    <a:pt x="422" y="424"/>
                  </a:cubicBezTo>
                  <a:cubicBezTo>
                    <a:pt x="422" y="424"/>
                    <a:pt x="422" y="423"/>
                    <a:pt x="422" y="423"/>
                  </a:cubicBezTo>
                  <a:cubicBezTo>
                    <a:pt x="422" y="423"/>
                    <a:pt x="425" y="421"/>
                    <a:pt x="425" y="421"/>
                  </a:cubicBezTo>
                  <a:cubicBezTo>
                    <a:pt x="425" y="421"/>
                    <a:pt x="424" y="421"/>
                    <a:pt x="423" y="421"/>
                  </a:cubicBezTo>
                  <a:cubicBezTo>
                    <a:pt x="424" y="421"/>
                    <a:pt x="424" y="419"/>
                    <a:pt x="425" y="419"/>
                  </a:cubicBezTo>
                  <a:cubicBezTo>
                    <a:pt x="427" y="423"/>
                    <a:pt x="425" y="417"/>
                    <a:pt x="428" y="417"/>
                  </a:cubicBezTo>
                  <a:cubicBezTo>
                    <a:pt x="430" y="417"/>
                    <a:pt x="429" y="415"/>
                    <a:pt x="431" y="412"/>
                  </a:cubicBezTo>
                  <a:cubicBezTo>
                    <a:pt x="430" y="413"/>
                    <a:pt x="436" y="408"/>
                    <a:pt x="433" y="405"/>
                  </a:cubicBezTo>
                  <a:cubicBezTo>
                    <a:pt x="432" y="404"/>
                    <a:pt x="433" y="405"/>
                    <a:pt x="433" y="403"/>
                  </a:cubicBezTo>
                  <a:cubicBezTo>
                    <a:pt x="433" y="400"/>
                    <a:pt x="430" y="392"/>
                    <a:pt x="432" y="389"/>
                  </a:cubicBezTo>
                  <a:cubicBezTo>
                    <a:pt x="426" y="390"/>
                    <a:pt x="426" y="385"/>
                    <a:pt x="420" y="387"/>
                  </a:cubicBezTo>
                  <a:cubicBezTo>
                    <a:pt x="418" y="388"/>
                    <a:pt x="420" y="388"/>
                    <a:pt x="419" y="391"/>
                  </a:cubicBezTo>
                  <a:cubicBezTo>
                    <a:pt x="413" y="391"/>
                    <a:pt x="410" y="388"/>
                    <a:pt x="405" y="388"/>
                  </a:cubicBezTo>
                  <a:cubicBezTo>
                    <a:pt x="405" y="385"/>
                    <a:pt x="401" y="386"/>
                    <a:pt x="402" y="383"/>
                  </a:cubicBezTo>
                  <a:cubicBezTo>
                    <a:pt x="401" y="382"/>
                    <a:pt x="399" y="383"/>
                    <a:pt x="398" y="382"/>
                  </a:cubicBezTo>
                  <a:cubicBezTo>
                    <a:pt x="397" y="382"/>
                    <a:pt x="398" y="380"/>
                    <a:pt x="398" y="379"/>
                  </a:cubicBezTo>
                  <a:cubicBezTo>
                    <a:pt x="397" y="379"/>
                    <a:pt x="396" y="380"/>
                    <a:pt x="395" y="379"/>
                  </a:cubicBezTo>
                  <a:cubicBezTo>
                    <a:pt x="394" y="378"/>
                    <a:pt x="395" y="376"/>
                    <a:pt x="393" y="376"/>
                  </a:cubicBezTo>
                  <a:cubicBezTo>
                    <a:pt x="393" y="373"/>
                    <a:pt x="395" y="374"/>
                    <a:pt x="393" y="371"/>
                  </a:cubicBezTo>
                  <a:cubicBezTo>
                    <a:pt x="393" y="370"/>
                    <a:pt x="392" y="371"/>
                    <a:pt x="392" y="371"/>
                  </a:cubicBezTo>
                  <a:cubicBezTo>
                    <a:pt x="390" y="370"/>
                    <a:pt x="389" y="367"/>
                    <a:pt x="386" y="368"/>
                  </a:cubicBezTo>
                  <a:cubicBezTo>
                    <a:pt x="387" y="364"/>
                    <a:pt x="382" y="367"/>
                    <a:pt x="383" y="363"/>
                  </a:cubicBezTo>
                  <a:cubicBezTo>
                    <a:pt x="382" y="363"/>
                    <a:pt x="376" y="362"/>
                    <a:pt x="378" y="363"/>
                  </a:cubicBezTo>
                  <a:cubicBezTo>
                    <a:pt x="376" y="363"/>
                    <a:pt x="377" y="361"/>
                    <a:pt x="376" y="361"/>
                  </a:cubicBezTo>
                  <a:cubicBezTo>
                    <a:pt x="376" y="360"/>
                    <a:pt x="375" y="361"/>
                    <a:pt x="374" y="361"/>
                  </a:cubicBezTo>
                  <a:cubicBezTo>
                    <a:pt x="373" y="360"/>
                    <a:pt x="371" y="359"/>
                    <a:pt x="367" y="359"/>
                  </a:cubicBezTo>
                  <a:cubicBezTo>
                    <a:pt x="368" y="355"/>
                    <a:pt x="364" y="358"/>
                    <a:pt x="362" y="356"/>
                  </a:cubicBezTo>
                  <a:cubicBezTo>
                    <a:pt x="362" y="356"/>
                    <a:pt x="363" y="354"/>
                    <a:pt x="362" y="354"/>
                  </a:cubicBezTo>
                  <a:cubicBezTo>
                    <a:pt x="362" y="353"/>
                    <a:pt x="360" y="354"/>
                    <a:pt x="360" y="354"/>
                  </a:cubicBezTo>
                  <a:cubicBezTo>
                    <a:pt x="360" y="353"/>
                    <a:pt x="360" y="352"/>
                    <a:pt x="360" y="351"/>
                  </a:cubicBezTo>
                  <a:cubicBezTo>
                    <a:pt x="360" y="351"/>
                    <a:pt x="358" y="352"/>
                    <a:pt x="358" y="351"/>
                  </a:cubicBezTo>
                  <a:cubicBezTo>
                    <a:pt x="357" y="351"/>
                    <a:pt x="358" y="349"/>
                    <a:pt x="358" y="349"/>
                  </a:cubicBezTo>
                  <a:cubicBezTo>
                    <a:pt x="356" y="348"/>
                    <a:pt x="357" y="350"/>
                    <a:pt x="356" y="350"/>
                  </a:cubicBezTo>
                  <a:cubicBezTo>
                    <a:pt x="356" y="350"/>
                    <a:pt x="353" y="348"/>
                    <a:pt x="353" y="348"/>
                  </a:cubicBezTo>
                  <a:cubicBezTo>
                    <a:pt x="351" y="350"/>
                    <a:pt x="351" y="347"/>
                    <a:pt x="349" y="348"/>
                  </a:cubicBezTo>
                  <a:cubicBezTo>
                    <a:pt x="348" y="348"/>
                    <a:pt x="345" y="350"/>
                    <a:pt x="343" y="350"/>
                  </a:cubicBezTo>
                  <a:cubicBezTo>
                    <a:pt x="341" y="350"/>
                    <a:pt x="340" y="349"/>
                    <a:pt x="339" y="349"/>
                  </a:cubicBezTo>
                  <a:cubicBezTo>
                    <a:pt x="336" y="349"/>
                    <a:pt x="337" y="351"/>
                    <a:pt x="334" y="349"/>
                  </a:cubicBezTo>
                  <a:cubicBezTo>
                    <a:pt x="332" y="348"/>
                    <a:pt x="331" y="349"/>
                    <a:pt x="328" y="348"/>
                  </a:cubicBezTo>
                  <a:cubicBezTo>
                    <a:pt x="327" y="347"/>
                    <a:pt x="327" y="346"/>
                    <a:pt x="327" y="345"/>
                  </a:cubicBezTo>
                  <a:cubicBezTo>
                    <a:pt x="326" y="345"/>
                    <a:pt x="325" y="345"/>
                    <a:pt x="325" y="345"/>
                  </a:cubicBezTo>
                  <a:cubicBezTo>
                    <a:pt x="323" y="345"/>
                    <a:pt x="318" y="344"/>
                    <a:pt x="321" y="342"/>
                  </a:cubicBezTo>
                  <a:cubicBezTo>
                    <a:pt x="318" y="342"/>
                    <a:pt x="317" y="339"/>
                    <a:pt x="314" y="339"/>
                  </a:cubicBezTo>
                  <a:cubicBezTo>
                    <a:pt x="313" y="338"/>
                    <a:pt x="313" y="338"/>
                    <a:pt x="313" y="336"/>
                  </a:cubicBezTo>
                  <a:cubicBezTo>
                    <a:pt x="308" y="335"/>
                    <a:pt x="306" y="331"/>
                    <a:pt x="301" y="331"/>
                  </a:cubicBezTo>
                  <a:cubicBezTo>
                    <a:pt x="300" y="327"/>
                    <a:pt x="298" y="325"/>
                    <a:pt x="299" y="319"/>
                  </a:cubicBezTo>
                  <a:cubicBezTo>
                    <a:pt x="299" y="315"/>
                    <a:pt x="292" y="317"/>
                    <a:pt x="295" y="312"/>
                  </a:cubicBezTo>
                  <a:cubicBezTo>
                    <a:pt x="294" y="312"/>
                    <a:pt x="293" y="313"/>
                    <a:pt x="293" y="314"/>
                  </a:cubicBezTo>
                  <a:cubicBezTo>
                    <a:pt x="291" y="314"/>
                    <a:pt x="292" y="312"/>
                    <a:pt x="292" y="311"/>
                  </a:cubicBezTo>
                  <a:cubicBezTo>
                    <a:pt x="291" y="310"/>
                    <a:pt x="288" y="310"/>
                    <a:pt x="288" y="308"/>
                  </a:cubicBezTo>
                  <a:cubicBezTo>
                    <a:pt x="288" y="306"/>
                    <a:pt x="286" y="307"/>
                    <a:pt x="285" y="306"/>
                  </a:cubicBezTo>
                  <a:cubicBezTo>
                    <a:pt x="284" y="306"/>
                    <a:pt x="286" y="305"/>
                    <a:pt x="286" y="304"/>
                  </a:cubicBezTo>
                  <a:cubicBezTo>
                    <a:pt x="286" y="304"/>
                    <a:pt x="285" y="302"/>
                    <a:pt x="285" y="302"/>
                  </a:cubicBezTo>
                  <a:cubicBezTo>
                    <a:pt x="284" y="302"/>
                    <a:pt x="283" y="302"/>
                    <a:pt x="282" y="302"/>
                  </a:cubicBezTo>
                  <a:cubicBezTo>
                    <a:pt x="281" y="301"/>
                    <a:pt x="282" y="299"/>
                    <a:pt x="281" y="298"/>
                  </a:cubicBezTo>
                  <a:cubicBezTo>
                    <a:pt x="278" y="296"/>
                    <a:pt x="275" y="295"/>
                    <a:pt x="274" y="290"/>
                  </a:cubicBezTo>
                  <a:cubicBezTo>
                    <a:pt x="272" y="288"/>
                    <a:pt x="272" y="291"/>
                    <a:pt x="269" y="289"/>
                  </a:cubicBezTo>
                  <a:cubicBezTo>
                    <a:pt x="270" y="286"/>
                    <a:pt x="267" y="286"/>
                    <a:pt x="267" y="285"/>
                  </a:cubicBezTo>
                  <a:cubicBezTo>
                    <a:pt x="266" y="283"/>
                    <a:pt x="267" y="279"/>
                    <a:pt x="263" y="279"/>
                  </a:cubicBezTo>
                  <a:cubicBezTo>
                    <a:pt x="264" y="274"/>
                    <a:pt x="261" y="271"/>
                    <a:pt x="257" y="270"/>
                  </a:cubicBezTo>
                  <a:cubicBezTo>
                    <a:pt x="256" y="271"/>
                    <a:pt x="256" y="272"/>
                    <a:pt x="255" y="274"/>
                  </a:cubicBezTo>
                  <a:cubicBezTo>
                    <a:pt x="254" y="276"/>
                    <a:pt x="258" y="277"/>
                    <a:pt x="259" y="278"/>
                  </a:cubicBezTo>
                  <a:cubicBezTo>
                    <a:pt x="259" y="279"/>
                    <a:pt x="258" y="280"/>
                    <a:pt x="259" y="281"/>
                  </a:cubicBezTo>
                  <a:cubicBezTo>
                    <a:pt x="259" y="281"/>
                    <a:pt x="260" y="280"/>
                    <a:pt x="260" y="281"/>
                  </a:cubicBezTo>
                  <a:cubicBezTo>
                    <a:pt x="261" y="282"/>
                    <a:pt x="259" y="285"/>
                    <a:pt x="261" y="285"/>
                  </a:cubicBezTo>
                  <a:cubicBezTo>
                    <a:pt x="263" y="285"/>
                    <a:pt x="262" y="288"/>
                    <a:pt x="263" y="291"/>
                  </a:cubicBezTo>
                  <a:cubicBezTo>
                    <a:pt x="264" y="292"/>
                    <a:pt x="264" y="291"/>
                    <a:pt x="265" y="292"/>
                  </a:cubicBezTo>
                  <a:cubicBezTo>
                    <a:pt x="265" y="295"/>
                    <a:pt x="268" y="294"/>
                    <a:pt x="267" y="298"/>
                  </a:cubicBezTo>
                  <a:cubicBezTo>
                    <a:pt x="267" y="300"/>
                    <a:pt x="269" y="299"/>
                    <a:pt x="270" y="299"/>
                  </a:cubicBezTo>
                  <a:cubicBezTo>
                    <a:pt x="270" y="301"/>
                    <a:pt x="272" y="301"/>
                    <a:pt x="272" y="302"/>
                  </a:cubicBezTo>
                  <a:cubicBezTo>
                    <a:pt x="272" y="303"/>
                    <a:pt x="270" y="304"/>
                    <a:pt x="270" y="304"/>
                  </a:cubicBezTo>
                  <a:cubicBezTo>
                    <a:pt x="271" y="306"/>
                    <a:pt x="274" y="305"/>
                    <a:pt x="273" y="309"/>
                  </a:cubicBezTo>
                  <a:cubicBezTo>
                    <a:pt x="271" y="307"/>
                    <a:pt x="271" y="305"/>
                    <a:pt x="267" y="306"/>
                  </a:cubicBezTo>
                  <a:cubicBezTo>
                    <a:pt x="269" y="302"/>
                    <a:pt x="264" y="303"/>
                    <a:pt x="265" y="299"/>
                  </a:cubicBezTo>
                  <a:cubicBezTo>
                    <a:pt x="264" y="297"/>
                    <a:pt x="262" y="297"/>
                    <a:pt x="261" y="296"/>
                  </a:cubicBezTo>
                  <a:cubicBezTo>
                    <a:pt x="260" y="295"/>
                    <a:pt x="259" y="294"/>
                    <a:pt x="259" y="292"/>
                  </a:cubicBezTo>
                  <a:cubicBezTo>
                    <a:pt x="256" y="292"/>
                    <a:pt x="255" y="292"/>
                    <a:pt x="254" y="290"/>
                  </a:cubicBezTo>
                  <a:cubicBezTo>
                    <a:pt x="254" y="287"/>
                    <a:pt x="255" y="289"/>
                    <a:pt x="256" y="289"/>
                  </a:cubicBezTo>
                  <a:cubicBezTo>
                    <a:pt x="258" y="284"/>
                    <a:pt x="252" y="285"/>
                    <a:pt x="253" y="281"/>
                  </a:cubicBezTo>
                  <a:cubicBezTo>
                    <a:pt x="251" y="280"/>
                    <a:pt x="250" y="278"/>
                    <a:pt x="247" y="278"/>
                  </a:cubicBezTo>
                  <a:cubicBezTo>
                    <a:pt x="247" y="275"/>
                    <a:pt x="249" y="275"/>
                    <a:pt x="247" y="272"/>
                  </a:cubicBezTo>
                  <a:cubicBezTo>
                    <a:pt x="247" y="272"/>
                    <a:pt x="246" y="271"/>
                    <a:pt x="246" y="271"/>
                  </a:cubicBezTo>
                  <a:cubicBezTo>
                    <a:pt x="244" y="269"/>
                    <a:pt x="245" y="264"/>
                    <a:pt x="240" y="265"/>
                  </a:cubicBezTo>
                  <a:cubicBezTo>
                    <a:pt x="241" y="264"/>
                    <a:pt x="241" y="263"/>
                    <a:pt x="240" y="262"/>
                  </a:cubicBezTo>
                  <a:cubicBezTo>
                    <a:pt x="240" y="262"/>
                    <a:pt x="239" y="259"/>
                    <a:pt x="239" y="259"/>
                  </a:cubicBezTo>
                  <a:cubicBezTo>
                    <a:pt x="238" y="259"/>
                    <a:pt x="236" y="260"/>
                    <a:pt x="235" y="259"/>
                  </a:cubicBezTo>
                  <a:cubicBezTo>
                    <a:pt x="234" y="259"/>
                    <a:pt x="237" y="258"/>
                    <a:pt x="237" y="258"/>
                  </a:cubicBezTo>
                  <a:cubicBezTo>
                    <a:pt x="237" y="256"/>
                    <a:pt x="230" y="255"/>
                    <a:pt x="227" y="253"/>
                  </a:cubicBezTo>
                  <a:cubicBezTo>
                    <a:pt x="226" y="253"/>
                    <a:pt x="226" y="252"/>
                    <a:pt x="226" y="251"/>
                  </a:cubicBezTo>
                  <a:cubicBezTo>
                    <a:pt x="225" y="250"/>
                    <a:pt x="224" y="249"/>
                    <a:pt x="223" y="248"/>
                  </a:cubicBezTo>
                  <a:cubicBezTo>
                    <a:pt x="222" y="247"/>
                    <a:pt x="222" y="243"/>
                    <a:pt x="221" y="241"/>
                  </a:cubicBezTo>
                  <a:cubicBezTo>
                    <a:pt x="221" y="240"/>
                    <a:pt x="219" y="240"/>
                    <a:pt x="219" y="239"/>
                  </a:cubicBezTo>
                  <a:cubicBezTo>
                    <a:pt x="218" y="238"/>
                    <a:pt x="219" y="235"/>
                    <a:pt x="216" y="236"/>
                  </a:cubicBezTo>
                  <a:cubicBezTo>
                    <a:pt x="217" y="231"/>
                    <a:pt x="214" y="228"/>
                    <a:pt x="212" y="225"/>
                  </a:cubicBezTo>
                  <a:cubicBezTo>
                    <a:pt x="210" y="224"/>
                    <a:pt x="211" y="221"/>
                    <a:pt x="208" y="222"/>
                  </a:cubicBezTo>
                  <a:cubicBezTo>
                    <a:pt x="210" y="208"/>
                    <a:pt x="208" y="200"/>
                    <a:pt x="208" y="183"/>
                  </a:cubicBezTo>
                  <a:cubicBezTo>
                    <a:pt x="208" y="182"/>
                    <a:pt x="207" y="182"/>
                    <a:pt x="207" y="180"/>
                  </a:cubicBezTo>
                  <a:cubicBezTo>
                    <a:pt x="206" y="180"/>
                    <a:pt x="205" y="179"/>
                    <a:pt x="204" y="178"/>
                  </a:cubicBezTo>
                  <a:cubicBezTo>
                    <a:pt x="204" y="178"/>
                    <a:pt x="204" y="177"/>
                    <a:pt x="202" y="177"/>
                  </a:cubicBezTo>
                  <a:cubicBezTo>
                    <a:pt x="201" y="171"/>
                    <a:pt x="197" y="168"/>
                    <a:pt x="193" y="164"/>
                  </a:cubicBezTo>
                  <a:cubicBezTo>
                    <a:pt x="192" y="163"/>
                    <a:pt x="191" y="163"/>
                    <a:pt x="192" y="162"/>
                  </a:cubicBezTo>
                  <a:cubicBezTo>
                    <a:pt x="192" y="162"/>
                    <a:pt x="195" y="163"/>
                    <a:pt x="195" y="162"/>
                  </a:cubicBezTo>
                  <a:cubicBezTo>
                    <a:pt x="197" y="162"/>
                    <a:pt x="197" y="165"/>
                    <a:pt x="200" y="164"/>
                  </a:cubicBezTo>
                  <a:cubicBezTo>
                    <a:pt x="201" y="165"/>
                    <a:pt x="201" y="167"/>
                    <a:pt x="201" y="169"/>
                  </a:cubicBezTo>
                  <a:cubicBezTo>
                    <a:pt x="207" y="168"/>
                    <a:pt x="208" y="172"/>
                    <a:pt x="212" y="173"/>
                  </a:cubicBezTo>
                  <a:cubicBezTo>
                    <a:pt x="211" y="178"/>
                    <a:pt x="213" y="179"/>
                    <a:pt x="215" y="180"/>
                  </a:cubicBezTo>
                  <a:cubicBezTo>
                    <a:pt x="216" y="180"/>
                    <a:pt x="217" y="178"/>
                    <a:pt x="216" y="177"/>
                  </a:cubicBezTo>
                  <a:cubicBezTo>
                    <a:pt x="216" y="176"/>
                    <a:pt x="214" y="175"/>
                    <a:pt x="214" y="175"/>
                  </a:cubicBezTo>
                  <a:cubicBezTo>
                    <a:pt x="213" y="173"/>
                    <a:pt x="213" y="171"/>
                    <a:pt x="213" y="170"/>
                  </a:cubicBezTo>
                  <a:cubicBezTo>
                    <a:pt x="213" y="169"/>
                    <a:pt x="212" y="169"/>
                    <a:pt x="212" y="169"/>
                  </a:cubicBezTo>
                  <a:cubicBezTo>
                    <a:pt x="211" y="168"/>
                    <a:pt x="212" y="167"/>
                    <a:pt x="213" y="168"/>
                  </a:cubicBezTo>
                  <a:cubicBezTo>
                    <a:pt x="211" y="165"/>
                    <a:pt x="209" y="165"/>
                    <a:pt x="209" y="163"/>
                  </a:cubicBezTo>
                  <a:cubicBezTo>
                    <a:pt x="204" y="163"/>
                    <a:pt x="203" y="159"/>
                    <a:pt x="197" y="159"/>
                  </a:cubicBezTo>
                  <a:cubicBezTo>
                    <a:pt x="199" y="155"/>
                    <a:pt x="194" y="158"/>
                    <a:pt x="195" y="155"/>
                  </a:cubicBezTo>
                  <a:cubicBezTo>
                    <a:pt x="194" y="153"/>
                    <a:pt x="192" y="155"/>
                    <a:pt x="190" y="152"/>
                  </a:cubicBezTo>
                  <a:cubicBezTo>
                    <a:pt x="190" y="151"/>
                    <a:pt x="192" y="151"/>
                    <a:pt x="193" y="151"/>
                  </a:cubicBezTo>
                  <a:cubicBezTo>
                    <a:pt x="194" y="148"/>
                    <a:pt x="189" y="150"/>
                    <a:pt x="189" y="150"/>
                  </a:cubicBezTo>
                  <a:cubicBezTo>
                    <a:pt x="188" y="149"/>
                    <a:pt x="189" y="148"/>
                    <a:pt x="188" y="148"/>
                  </a:cubicBezTo>
                  <a:cubicBezTo>
                    <a:pt x="188" y="147"/>
                    <a:pt x="186" y="148"/>
                    <a:pt x="186" y="148"/>
                  </a:cubicBezTo>
                  <a:cubicBezTo>
                    <a:pt x="185" y="147"/>
                    <a:pt x="187" y="146"/>
                    <a:pt x="187" y="145"/>
                  </a:cubicBezTo>
                  <a:cubicBezTo>
                    <a:pt x="186" y="143"/>
                    <a:pt x="185" y="146"/>
                    <a:pt x="183" y="145"/>
                  </a:cubicBezTo>
                  <a:cubicBezTo>
                    <a:pt x="181" y="143"/>
                    <a:pt x="182" y="141"/>
                    <a:pt x="181" y="139"/>
                  </a:cubicBezTo>
                  <a:cubicBezTo>
                    <a:pt x="180" y="138"/>
                    <a:pt x="179" y="138"/>
                    <a:pt x="177" y="138"/>
                  </a:cubicBezTo>
                  <a:cubicBezTo>
                    <a:pt x="182" y="131"/>
                    <a:pt x="168" y="136"/>
                    <a:pt x="169" y="129"/>
                  </a:cubicBezTo>
                  <a:cubicBezTo>
                    <a:pt x="170" y="129"/>
                    <a:pt x="172" y="129"/>
                    <a:pt x="173" y="129"/>
                  </a:cubicBezTo>
                  <a:cubicBezTo>
                    <a:pt x="173" y="126"/>
                    <a:pt x="167" y="129"/>
                    <a:pt x="169" y="125"/>
                  </a:cubicBezTo>
                  <a:cubicBezTo>
                    <a:pt x="167" y="125"/>
                    <a:pt x="164" y="125"/>
                    <a:pt x="162" y="125"/>
                  </a:cubicBezTo>
                  <a:cubicBezTo>
                    <a:pt x="165" y="123"/>
                    <a:pt x="161" y="122"/>
                    <a:pt x="163" y="122"/>
                  </a:cubicBezTo>
                  <a:cubicBezTo>
                    <a:pt x="164" y="119"/>
                    <a:pt x="160" y="120"/>
                    <a:pt x="161" y="120"/>
                  </a:cubicBezTo>
                  <a:cubicBezTo>
                    <a:pt x="159" y="118"/>
                    <a:pt x="161" y="117"/>
                    <a:pt x="159" y="115"/>
                  </a:cubicBezTo>
                  <a:cubicBezTo>
                    <a:pt x="156" y="115"/>
                    <a:pt x="154" y="115"/>
                    <a:pt x="152" y="115"/>
                  </a:cubicBezTo>
                  <a:cubicBezTo>
                    <a:pt x="152" y="113"/>
                    <a:pt x="153" y="112"/>
                    <a:pt x="154" y="110"/>
                  </a:cubicBezTo>
                  <a:cubicBezTo>
                    <a:pt x="153" y="108"/>
                    <a:pt x="150" y="109"/>
                    <a:pt x="153" y="106"/>
                  </a:cubicBezTo>
                  <a:cubicBezTo>
                    <a:pt x="149" y="107"/>
                    <a:pt x="146" y="108"/>
                    <a:pt x="141" y="107"/>
                  </a:cubicBezTo>
                  <a:cubicBezTo>
                    <a:pt x="141" y="104"/>
                    <a:pt x="138" y="103"/>
                    <a:pt x="135" y="102"/>
                  </a:cubicBezTo>
                  <a:cubicBezTo>
                    <a:pt x="134" y="101"/>
                    <a:pt x="132" y="101"/>
                    <a:pt x="132" y="100"/>
                  </a:cubicBezTo>
                  <a:cubicBezTo>
                    <a:pt x="131" y="100"/>
                    <a:pt x="132" y="98"/>
                    <a:pt x="132" y="98"/>
                  </a:cubicBezTo>
                  <a:cubicBezTo>
                    <a:pt x="131" y="98"/>
                    <a:pt x="129" y="98"/>
                    <a:pt x="129" y="97"/>
                  </a:cubicBezTo>
                  <a:cubicBezTo>
                    <a:pt x="125" y="95"/>
                    <a:pt x="117" y="99"/>
                    <a:pt x="115" y="97"/>
                  </a:cubicBezTo>
                  <a:cubicBezTo>
                    <a:pt x="115" y="97"/>
                    <a:pt x="115" y="96"/>
                    <a:pt x="115" y="96"/>
                  </a:cubicBezTo>
                  <a:cubicBezTo>
                    <a:pt x="114" y="96"/>
                    <a:pt x="113" y="97"/>
                    <a:pt x="113" y="97"/>
                  </a:cubicBezTo>
                  <a:cubicBezTo>
                    <a:pt x="111" y="97"/>
                    <a:pt x="111" y="93"/>
                    <a:pt x="107" y="95"/>
                  </a:cubicBezTo>
                  <a:cubicBezTo>
                    <a:pt x="107" y="92"/>
                    <a:pt x="101" y="93"/>
                    <a:pt x="104" y="90"/>
                  </a:cubicBezTo>
                  <a:cubicBezTo>
                    <a:pt x="103" y="90"/>
                    <a:pt x="103" y="91"/>
                    <a:pt x="102" y="91"/>
                  </a:cubicBezTo>
                  <a:cubicBezTo>
                    <a:pt x="102" y="91"/>
                    <a:pt x="100" y="90"/>
                    <a:pt x="101" y="90"/>
                  </a:cubicBezTo>
                  <a:cubicBezTo>
                    <a:pt x="98" y="90"/>
                    <a:pt x="97" y="93"/>
                    <a:pt x="95" y="91"/>
                  </a:cubicBezTo>
                  <a:cubicBezTo>
                    <a:pt x="92" y="91"/>
                    <a:pt x="94" y="95"/>
                    <a:pt x="94" y="97"/>
                  </a:cubicBezTo>
                  <a:cubicBezTo>
                    <a:pt x="93" y="96"/>
                    <a:pt x="92" y="95"/>
                    <a:pt x="90" y="96"/>
                  </a:cubicBezTo>
                  <a:cubicBezTo>
                    <a:pt x="89" y="96"/>
                    <a:pt x="90" y="98"/>
                    <a:pt x="89" y="98"/>
                  </a:cubicBezTo>
                  <a:cubicBezTo>
                    <a:pt x="88" y="99"/>
                    <a:pt x="84" y="98"/>
                    <a:pt x="82" y="99"/>
                  </a:cubicBezTo>
                  <a:cubicBezTo>
                    <a:pt x="81" y="100"/>
                    <a:pt x="81" y="101"/>
                    <a:pt x="80" y="102"/>
                  </a:cubicBezTo>
                  <a:cubicBezTo>
                    <a:pt x="78" y="102"/>
                    <a:pt x="77" y="100"/>
                    <a:pt x="75" y="100"/>
                  </a:cubicBezTo>
                  <a:cubicBezTo>
                    <a:pt x="77" y="99"/>
                    <a:pt x="80" y="98"/>
                    <a:pt x="79" y="93"/>
                  </a:cubicBezTo>
                  <a:cubicBezTo>
                    <a:pt x="81" y="94"/>
                    <a:pt x="81" y="92"/>
                    <a:pt x="81" y="91"/>
                  </a:cubicBezTo>
                  <a:cubicBezTo>
                    <a:pt x="81" y="90"/>
                    <a:pt x="79" y="90"/>
                    <a:pt x="77" y="90"/>
                  </a:cubicBezTo>
                  <a:cubicBezTo>
                    <a:pt x="76" y="91"/>
                    <a:pt x="76" y="93"/>
                    <a:pt x="74" y="95"/>
                  </a:cubicBezTo>
                  <a:cubicBezTo>
                    <a:pt x="73" y="95"/>
                    <a:pt x="73" y="97"/>
                    <a:pt x="71" y="97"/>
                  </a:cubicBezTo>
                  <a:cubicBezTo>
                    <a:pt x="70" y="97"/>
                    <a:pt x="70" y="100"/>
                    <a:pt x="68" y="99"/>
                  </a:cubicBezTo>
                  <a:cubicBezTo>
                    <a:pt x="68" y="101"/>
                    <a:pt x="67" y="101"/>
                    <a:pt x="66" y="102"/>
                  </a:cubicBezTo>
                  <a:cubicBezTo>
                    <a:pt x="66" y="103"/>
                    <a:pt x="66" y="105"/>
                    <a:pt x="66" y="106"/>
                  </a:cubicBezTo>
                  <a:cubicBezTo>
                    <a:pt x="62" y="108"/>
                    <a:pt x="61" y="111"/>
                    <a:pt x="59" y="113"/>
                  </a:cubicBezTo>
                  <a:cubicBezTo>
                    <a:pt x="58" y="114"/>
                    <a:pt x="57" y="113"/>
                    <a:pt x="56" y="113"/>
                  </a:cubicBezTo>
                  <a:cubicBezTo>
                    <a:pt x="56" y="114"/>
                    <a:pt x="57" y="115"/>
                    <a:pt x="56" y="116"/>
                  </a:cubicBezTo>
                  <a:cubicBezTo>
                    <a:pt x="56" y="116"/>
                    <a:pt x="51" y="116"/>
                    <a:pt x="53" y="117"/>
                  </a:cubicBezTo>
                  <a:cubicBezTo>
                    <a:pt x="55" y="119"/>
                    <a:pt x="50" y="118"/>
                    <a:pt x="48" y="120"/>
                  </a:cubicBezTo>
                  <a:cubicBezTo>
                    <a:pt x="48" y="121"/>
                    <a:pt x="46" y="125"/>
                    <a:pt x="46" y="124"/>
                  </a:cubicBezTo>
                  <a:cubicBezTo>
                    <a:pt x="44" y="123"/>
                    <a:pt x="45" y="123"/>
                    <a:pt x="44" y="125"/>
                  </a:cubicBezTo>
                  <a:cubicBezTo>
                    <a:pt x="43" y="125"/>
                    <a:pt x="41" y="125"/>
                    <a:pt x="40" y="125"/>
                  </a:cubicBezTo>
                  <a:cubicBezTo>
                    <a:pt x="37" y="126"/>
                    <a:pt x="42" y="127"/>
                    <a:pt x="36" y="128"/>
                  </a:cubicBezTo>
                  <a:cubicBezTo>
                    <a:pt x="34" y="128"/>
                    <a:pt x="32" y="127"/>
                    <a:pt x="29" y="129"/>
                  </a:cubicBezTo>
                  <a:cubicBezTo>
                    <a:pt x="27" y="130"/>
                    <a:pt x="27" y="133"/>
                    <a:pt x="24" y="131"/>
                  </a:cubicBezTo>
                  <a:cubicBezTo>
                    <a:pt x="24" y="128"/>
                    <a:pt x="28" y="129"/>
                    <a:pt x="30" y="128"/>
                  </a:cubicBezTo>
                  <a:cubicBezTo>
                    <a:pt x="31" y="127"/>
                    <a:pt x="31" y="128"/>
                    <a:pt x="31" y="126"/>
                  </a:cubicBezTo>
                  <a:cubicBezTo>
                    <a:pt x="32" y="125"/>
                    <a:pt x="35" y="125"/>
                    <a:pt x="36" y="125"/>
                  </a:cubicBezTo>
                  <a:cubicBezTo>
                    <a:pt x="38" y="125"/>
                    <a:pt x="37" y="122"/>
                    <a:pt x="37" y="122"/>
                  </a:cubicBezTo>
                  <a:cubicBezTo>
                    <a:pt x="38" y="121"/>
                    <a:pt x="39" y="124"/>
                    <a:pt x="41" y="120"/>
                  </a:cubicBezTo>
                  <a:cubicBezTo>
                    <a:pt x="41" y="120"/>
                    <a:pt x="42" y="121"/>
                    <a:pt x="42" y="119"/>
                  </a:cubicBezTo>
                  <a:cubicBezTo>
                    <a:pt x="42" y="118"/>
                    <a:pt x="45" y="118"/>
                    <a:pt x="47" y="117"/>
                  </a:cubicBezTo>
                  <a:cubicBezTo>
                    <a:pt x="47" y="115"/>
                    <a:pt x="47" y="113"/>
                    <a:pt x="47" y="111"/>
                  </a:cubicBezTo>
                  <a:cubicBezTo>
                    <a:pt x="50" y="115"/>
                    <a:pt x="47" y="108"/>
                    <a:pt x="51" y="109"/>
                  </a:cubicBezTo>
                  <a:cubicBezTo>
                    <a:pt x="52" y="106"/>
                    <a:pt x="46" y="109"/>
                    <a:pt x="48" y="105"/>
                  </a:cubicBezTo>
                  <a:cubicBezTo>
                    <a:pt x="47" y="108"/>
                    <a:pt x="40" y="105"/>
                    <a:pt x="39" y="107"/>
                  </a:cubicBezTo>
                  <a:cubicBezTo>
                    <a:pt x="37" y="108"/>
                    <a:pt x="38" y="106"/>
                    <a:pt x="37" y="105"/>
                  </a:cubicBezTo>
                  <a:cubicBezTo>
                    <a:pt x="36" y="104"/>
                    <a:pt x="32" y="106"/>
                    <a:pt x="30" y="105"/>
                  </a:cubicBezTo>
                  <a:cubicBezTo>
                    <a:pt x="31" y="103"/>
                    <a:pt x="28" y="104"/>
                    <a:pt x="28" y="103"/>
                  </a:cubicBezTo>
                  <a:cubicBezTo>
                    <a:pt x="27" y="102"/>
                    <a:pt x="29" y="101"/>
                    <a:pt x="29" y="102"/>
                  </a:cubicBezTo>
                  <a:cubicBezTo>
                    <a:pt x="27" y="98"/>
                    <a:pt x="25" y="99"/>
                    <a:pt x="23" y="96"/>
                  </a:cubicBezTo>
                  <a:cubicBezTo>
                    <a:pt x="22" y="97"/>
                    <a:pt x="18" y="97"/>
                    <a:pt x="15" y="97"/>
                  </a:cubicBezTo>
                  <a:cubicBezTo>
                    <a:pt x="15" y="96"/>
                    <a:pt x="15" y="95"/>
                    <a:pt x="16" y="95"/>
                  </a:cubicBezTo>
                  <a:cubicBezTo>
                    <a:pt x="15" y="92"/>
                    <a:pt x="11" y="93"/>
                    <a:pt x="13" y="89"/>
                  </a:cubicBezTo>
                  <a:cubicBezTo>
                    <a:pt x="12" y="87"/>
                    <a:pt x="11" y="86"/>
                    <a:pt x="10" y="87"/>
                  </a:cubicBezTo>
                  <a:cubicBezTo>
                    <a:pt x="7" y="87"/>
                    <a:pt x="10" y="84"/>
                    <a:pt x="10" y="83"/>
                  </a:cubicBezTo>
                  <a:cubicBezTo>
                    <a:pt x="10" y="82"/>
                    <a:pt x="10" y="81"/>
                    <a:pt x="10" y="80"/>
                  </a:cubicBezTo>
                  <a:cubicBezTo>
                    <a:pt x="10" y="80"/>
                    <a:pt x="12" y="81"/>
                    <a:pt x="13" y="80"/>
                  </a:cubicBezTo>
                  <a:cubicBezTo>
                    <a:pt x="13" y="79"/>
                    <a:pt x="13" y="78"/>
                    <a:pt x="14" y="77"/>
                  </a:cubicBezTo>
                  <a:cubicBezTo>
                    <a:pt x="17" y="76"/>
                    <a:pt x="21" y="76"/>
                    <a:pt x="23" y="75"/>
                  </a:cubicBezTo>
                  <a:cubicBezTo>
                    <a:pt x="25" y="74"/>
                    <a:pt x="26" y="74"/>
                    <a:pt x="28" y="73"/>
                  </a:cubicBezTo>
                  <a:cubicBezTo>
                    <a:pt x="30" y="72"/>
                    <a:pt x="26" y="70"/>
                    <a:pt x="33" y="71"/>
                  </a:cubicBezTo>
                  <a:cubicBezTo>
                    <a:pt x="32" y="68"/>
                    <a:pt x="32" y="66"/>
                    <a:pt x="30" y="62"/>
                  </a:cubicBezTo>
                  <a:cubicBezTo>
                    <a:pt x="28" y="59"/>
                    <a:pt x="21" y="66"/>
                    <a:pt x="18" y="63"/>
                  </a:cubicBezTo>
                  <a:cubicBezTo>
                    <a:pt x="16" y="61"/>
                    <a:pt x="18" y="64"/>
                    <a:pt x="14" y="64"/>
                  </a:cubicBezTo>
                  <a:cubicBezTo>
                    <a:pt x="13" y="62"/>
                    <a:pt x="8" y="63"/>
                    <a:pt x="6" y="62"/>
                  </a:cubicBezTo>
                  <a:cubicBezTo>
                    <a:pt x="5" y="61"/>
                    <a:pt x="8" y="59"/>
                    <a:pt x="6" y="59"/>
                  </a:cubicBezTo>
                  <a:cubicBezTo>
                    <a:pt x="3" y="59"/>
                    <a:pt x="1" y="58"/>
                    <a:pt x="1" y="55"/>
                  </a:cubicBezTo>
                  <a:cubicBezTo>
                    <a:pt x="8" y="55"/>
                    <a:pt x="0" y="51"/>
                    <a:pt x="8" y="52"/>
                  </a:cubicBezTo>
                  <a:cubicBezTo>
                    <a:pt x="9" y="52"/>
                    <a:pt x="9" y="51"/>
                    <a:pt x="8" y="51"/>
                  </a:cubicBezTo>
                  <a:cubicBezTo>
                    <a:pt x="8" y="49"/>
                    <a:pt x="10" y="51"/>
                    <a:pt x="10" y="51"/>
                  </a:cubicBezTo>
                  <a:cubicBezTo>
                    <a:pt x="12" y="51"/>
                    <a:pt x="13" y="49"/>
                    <a:pt x="15" y="50"/>
                  </a:cubicBezTo>
                  <a:cubicBezTo>
                    <a:pt x="15" y="50"/>
                    <a:pt x="16" y="52"/>
                    <a:pt x="17" y="52"/>
                  </a:cubicBezTo>
                  <a:cubicBezTo>
                    <a:pt x="20" y="53"/>
                    <a:pt x="22" y="51"/>
                    <a:pt x="26" y="52"/>
                  </a:cubicBezTo>
                  <a:cubicBezTo>
                    <a:pt x="27" y="53"/>
                    <a:pt x="27" y="53"/>
                    <a:pt x="29" y="52"/>
                  </a:cubicBezTo>
                  <a:cubicBezTo>
                    <a:pt x="31" y="52"/>
                    <a:pt x="29" y="51"/>
                    <a:pt x="29" y="50"/>
                  </a:cubicBezTo>
                  <a:cubicBezTo>
                    <a:pt x="30" y="50"/>
                    <a:pt x="31" y="50"/>
                    <a:pt x="31" y="49"/>
                  </a:cubicBezTo>
                  <a:cubicBezTo>
                    <a:pt x="32" y="46"/>
                    <a:pt x="26" y="49"/>
                    <a:pt x="28" y="45"/>
                  </a:cubicBezTo>
                  <a:cubicBezTo>
                    <a:pt x="25" y="44"/>
                    <a:pt x="22" y="43"/>
                    <a:pt x="18" y="43"/>
                  </a:cubicBezTo>
                  <a:cubicBezTo>
                    <a:pt x="20" y="41"/>
                    <a:pt x="20" y="41"/>
                    <a:pt x="17" y="39"/>
                  </a:cubicBezTo>
                  <a:cubicBezTo>
                    <a:pt x="17" y="39"/>
                    <a:pt x="16" y="38"/>
                    <a:pt x="16" y="38"/>
                  </a:cubicBezTo>
                  <a:cubicBezTo>
                    <a:pt x="15" y="37"/>
                    <a:pt x="13" y="38"/>
                    <a:pt x="11" y="37"/>
                  </a:cubicBezTo>
                  <a:cubicBezTo>
                    <a:pt x="12" y="37"/>
                    <a:pt x="14" y="33"/>
                    <a:pt x="11" y="33"/>
                  </a:cubicBezTo>
                  <a:cubicBezTo>
                    <a:pt x="11" y="33"/>
                    <a:pt x="11" y="35"/>
                    <a:pt x="10" y="35"/>
                  </a:cubicBezTo>
                  <a:cubicBezTo>
                    <a:pt x="9" y="34"/>
                    <a:pt x="8" y="33"/>
                    <a:pt x="7" y="33"/>
                  </a:cubicBezTo>
                  <a:cubicBezTo>
                    <a:pt x="9" y="30"/>
                    <a:pt x="14" y="29"/>
                    <a:pt x="18" y="27"/>
                  </a:cubicBezTo>
                  <a:cubicBezTo>
                    <a:pt x="17" y="23"/>
                    <a:pt x="22" y="23"/>
                    <a:pt x="23" y="22"/>
                  </a:cubicBezTo>
                  <a:cubicBezTo>
                    <a:pt x="24" y="20"/>
                    <a:pt x="23" y="18"/>
                    <a:pt x="24" y="17"/>
                  </a:cubicBezTo>
                  <a:cubicBezTo>
                    <a:pt x="27" y="20"/>
                    <a:pt x="27" y="18"/>
                    <a:pt x="33" y="18"/>
                  </a:cubicBezTo>
                  <a:cubicBezTo>
                    <a:pt x="35" y="15"/>
                    <a:pt x="39" y="12"/>
                    <a:pt x="46" y="13"/>
                  </a:cubicBezTo>
                  <a:cubicBezTo>
                    <a:pt x="47" y="14"/>
                    <a:pt x="46" y="11"/>
                    <a:pt x="47" y="11"/>
                  </a:cubicBezTo>
                  <a:cubicBezTo>
                    <a:pt x="49" y="10"/>
                    <a:pt x="53" y="12"/>
                    <a:pt x="54" y="9"/>
                  </a:cubicBezTo>
                  <a:cubicBezTo>
                    <a:pt x="55" y="8"/>
                    <a:pt x="55" y="11"/>
                    <a:pt x="56" y="11"/>
                  </a:cubicBezTo>
                  <a:cubicBezTo>
                    <a:pt x="58" y="12"/>
                    <a:pt x="60" y="10"/>
                    <a:pt x="60" y="13"/>
                  </a:cubicBezTo>
                  <a:cubicBezTo>
                    <a:pt x="65" y="13"/>
                    <a:pt x="70" y="13"/>
                    <a:pt x="75" y="13"/>
                  </a:cubicBezTo>
                  <a:cubicBezTo>
                    <a:pt x="70" y="18"/>
                    <a:pt x="83" y="11"/>
                    <a:pt x="79" y="17"/>
                  </a:cubicBezTo>
                  <a:cubicBezTo>
                    <a:pt x="81" y="17"/>
                    <a:pt x="83" y="17"/>
                    <a:pt x="83" y="14"/>
                  </a:cubicBezTo>
                  <a:cubicBezTo>
                    <a:pt x="86" y="17"/>
                    <a:pt x="90" y="16"/>
                    <a:pt x="94" y="17"/>
                  </a:cubicBezTo>
                  <a:cubicBezTo>
                    <a:pt x="94" y="17"/>
                    <a:pt x="94" y="18"/>
                    <a:pt x="95" y="18"/>
                  </a:cubicBezTo>
                  <a:cubicBezTo>
                    <a:pt x="96" y="18"/>
                    <a:pt x="96" y="19"/>
                    <a:pt x="97" y="19"/>
                  </a:cubicBezTo>
                  <a:cubicBezTo>
                    <a:pt x="100" y="20"/>
                    <a:pt x="101" y="17"/>
                    <a:pt x="103" y="19"/>
                  </a:cubicBezTo>
                  <a:cubicBezTo>
                    <a:pt x="104" y="20"/>
                    <a:pt x="117" y="19"/>
                    <a:pt x="119" y="20"/>
                  </a:cubicBezTo>
                  <a:cubicBezTo>
                    <a:pt x="120" y="21"/>
                    <a:pt x="127" y="22"/>
                    <a:pt x="132" y="23"/>
                  </a:cubicBezTo>
                  <a:cubicBezTo>
                    <a:pt x="133" y="24"/>
                    <a:pt x="135" y="25"/>
                    <a:pt x="135" y="27"/>
                  </a:cubicBezTo>
                  <a:cubicBezTo>
                    <a:pt x="139" y="28"/>
                    <a:pt x="141" y="30"/>
                    <a:pt x="144" y="29"/>
                  </a:cubicBezTo>
                  <a:cubicBezTo>
                    <a:pt x="145" y="32"/>
                    <a:pt x="150" y="31"/>
                    <a:pt x="154" y="31"/>
                  </a:cubicBezTo>
                  <a:cubicBezTo>
                    <a:pt x="154" y="30"/>
                    <a:pt x="152" y="30"/>
                    <a:pt x="152" y="30"/>
                  </a:cubicBezTo>
                  <a:cubicBezTo>
                    <a:pt x="154" y="27"/>
                    <a:pt x="157" y="25"/>
                    <a:pt x="161" y="24"/>
                  </a:cubicBezTo>
                  <a:cubicBezTo>
                    <a:pt x="161" y="26"/>
                    <a:pt x="162" y="26"/>
                    <a:pt x="162" y="25"/>
                  </a:cubicBezTo>
                  <a:cubicBezTo>
                    <a:pt x="163" y="25"/>
                    <a:pt x="163" y="27"/>
                    <a:pt x="164" y="27"/>
                  </a:cubicBezTo>
                  <a:cubicBezTo>
                    <a:pt x="167" y="28"/>
                    <a:pt x="167" y="26"/>
                    <a:pt x="167" y="24"/>
                  </a:cubicBezTo>
                  <a:cubicBezTo>
                    <a:pt x="169" y="23"/>
                    <a:pt x="170" y="25"/>
                    <a:pt x="172" y="25"/>
                  </a:cubicBezTo>
                  <a:cubicBezTo>
                    <a:pt x="173" y="24"/>
                    <a:pt x="171" y="22"/>
                    <a:pt x="174" y="20"/>
                  </a:cubicBezTo>
                  <a:cubicBezTo>
                    <a:pt x="176" y="20"/>
                    <a:pt x="177" y="22"/>
                    <a:pt x="177" y="20"/>
                  </a:cubicBezTo>
                  <a:cubicBezTo>
                    <a:pt x="179" y="21"/>
                    <a:pt x="178" y="23"/>
                    <a:pt x="176" y="23"/>
                  </a:cubicBezTo>
                  <a:cubicBezTo>
                    <a:pt x="178" y="26"/>
                    <a:pt x="186" y="20"/>
                    <a:pt x="188" y="24"/>
                  </a:cubicBezTo>
                  <a:cubicBezTo>
                    <a:pt x="192" y="24"/>
                    <a:pt x="185" y="21"/>
                    <a:pt x="189" y="20"/>
                  </a:cubicBezTo>
                  <a:cubicBezTo>
                    <a:pt x="190" y="19"/>
                    <a:pt x="191" y="18"/>
                    <a:pt x="193" y="18"/>
                  </a:cubicBezTo>
                  <a:cubicBezTo>
                    <a:pt x="193" y="19"/>
                    <a:pt x="193" y="20"/>
                    <a:pt x="193" y="22"/>
                  </a:cubicBezTo>
                  <a:cubicBezTo>
                    <a:pt x="195" y="19"/>
                    <a:pt x="196" y="23"/>
                    <a:pt x="199" y="24"/>
                  </a:cubicBezTo>
                  <a:cubicBezTo>
                    <a:pt x="202" y="24"/>
                    <a:pt x="205" y="24"/>
                    <a:pt x="206" y="22"/>
                  </a:cubicBezTo>
                  <a:cubicBezTo>
                    <a:pt x="207" y="23"/>
                    <a:pt x="210" y="22"/>
                    <a:pt x="209" y="26"/>
                  </a:cubicBezTo>
                  <a:cubicBezTo>
                    <a:pt x="212" y="26"/>
                    <a:pt x="215" y="25"/>
                    <a:pt x="215" y="22"/>
                  </a:cubicBezTo>
                  <a:cubicBezTo>
                    <a:pt x="218" y="24"/>
                    <a:pt x="220" y="21"/>
                    <a:pt x="222" y="24"/>
                  </a:cubicBezTo>
                  <a:cubicBezTo>
                    <a:pt x="225" y="24"/>
                    <a:pt x="228" y="24"/>
                    <a:pt x="230" y="24"/>
                  </a:cubicBezTo>
                  <a:cubicBezTo>
                    <a:pt x="231" y="24"/>
                    <a:pt x="229" y="26"/>
                    <a:pt x="229" y="26"/>
                  </a:cubicBezTo>
                  <a:cubicBezTo>
                    <a:pt x="229" y="26"/>
                    <a:pt x="232" y="28"/>
                    <a:pt x="232" y="27"/>
                  </a:cubicBezTo>
                  <a:cubicBezTo>
                    <a:pt x="233" y="28"/>
                    <a:pt x="233" y="26"/>
                    <a:pt x="235" y="26"/>
                  </a:cubicBezTo>
                  <a:cubicBezTo>
                    <a:pt x="235" y="26"/>
                    <a:pt x="235" y="28"/>
                    <a:pt x="235" y="29"/>
                  </a:cubicBezTo>
                  <a:cubicBezTo>
                    <a:pt x="239" y="31"/>
                    <a:pt x="243" y="28"/>
                    <a:pt x="247" y="29"/>
                  </a:cubicBezTo>
                  <a:cubicBezTo>
                    <a:pt x="247" y="30"/>
                    <a:pt x="249" y="30"/>
                    <a:pt x="250" y="30"/>
                  </a:cubicBezTo>
                  <a:cubicBezTo>
                    <a:pt x="249" y="34"/>
                    <a:pt x="254" y="31"/>
                    <a:pt x="254" y="33"/>
                  </a:cubicBezTo>
                  <a:cubicBezTo>
                    <a:pt x="255" y="36"/>
                    <a:pt x="252" y="35"/>
                    <a:pt x="252" y="37"/>
                  </a:cubicBezTo>
                  <a:cubicBezTo>
                    <a:pt x="251" y="39"/>
                    <a:pt x="253" y="39"/>
                    <a:pt x="253" y="40"/>
                  </a:cubicBezTo>
                  <a:cubicBezTo>
                    <a:pt x="265" y="39"/>
                    <a:pt x="276" y="39"/>
                    <a:pt x="286" y="43"/>
                  </a:cubicBezTo>
                  <a:cubicBezTo>
                    <a:pt x="285" y="44"/>
                    <a:pt x="285" y="45"/>
                    <a:pt x="285" y="46"/>
                  </a:cubicBezTo>
                  <a:cubicBezTo>
                    <a:pt x="287" y="46"/>
                    <a:pt x="287" y="45"/>
                    <a:pt x="289" y="45"/>
                  </a:cubicBezTo>
                  <a:cubicBezTo>
                    <a:pt x="288" y="41"/>
                    <a:pt x="289" y="42"/>
                    <a:pt x="288" y="38"/>
                  </a:cubicBezTo>
                  <a:cubicBezTo>
                    <a:pt x="289" y="36"/>
                    <a:pt x="298" y="36"/>
                    <a:pt x="295" y="35"/>
                  </a:cubicBezTo>
                  <a:cubicBezTo>
                    <a:pt x="296" y="32"/>
                    <a:pt x="297" y="34"/>
                    <a:pt x="299" y="35"/>
                  </a:cubicBezTo>
                  <a:cubicBezTo>
                    <a:pt x="299" y="36"/>
                    <a:pt x="301" y="35"/>
                    <a:pt x="301" y="37"/>
                  </a:cubicBezTo>
                  <a:cubicBezTo>
                    <a:pt x="306" y="38"/>
                    <a:pt x="309" y="36"/>
                    <a:pt x="313" y="37"/>
                  </a:cubicBezTo>
                  <a:cubicBezTo>
                    <a:pt x="313" y="37"/>
                    <a:pt x="313" y="38"/>
                    <a:pt x="314" y="38"/>
                  </a:cubicBezTo>
                  <a:cubicBezTo>
                    <a:pt x="315" y="38"/>
                    <a:pt x="315" y="39"/>
                    <a:pt x="316" y="39"/>
                  </a:cubicBezTo>
                  <a:cubicBezTo>
                    <a:pt x="321" y="39"/>
                    <a:pt x="324" y="37"/>
                    <a:pt x="330" y="38"/>
                  </a:cubicBezTo>
                  <a:cubicBezTo>
                    <a:pt x="334" y="36"/>
                    <a:pt x="333" y="34"/>
                    <a:pt x="334" y="31"/>
                  </a:cubicBezTo>
                  <a:cubicBezTo>
                    <a:pt x="333" y="27"/>
                    <a:pt x="330" y="29"/>
                    <a:pt x="329" y="27"/>
                  </a:cubicBezTo>
                  <a:cubicBezTo>
                    <a:pt x="330" y="21"/>
                    <a:pt x="340" y="24"/>
                    <a:pt x="343" y="26"/>
                  </a:cubicBezTo>
                  <a:cubicBezTo>
                    <a:pt x="343" y="28"/>
                    <a:pt x="342" y="29"/>
                    <a:pt x="340" y="29"/>
                  </a:cubicBezTo>
                  <a:cubicBezTo>
                    <a:pt x="342" y="31"/>
                    <a:pt x="340" y="32"/>
                    <a:pt x="339" y="33"/>
                  </a:cubicBezTo>
                  <a:cubicBezTo>
                    <a:pt x="338" y="36"/>
                    <a:pt x="340" y="36"/>
                    <a:pt x="342" y="36"/>
                  </a:cubicBezTo>
                  <a:cubicBezTo>
                    <a:pt x="341" y="39"/>
                    <a:pt x="343" y="40"/>
                    <a:pt x="341" y="43"/>
                  </a:cubicBezTo>
                  <a:cubicBezTo>
                    <a:pt x="345" y="45"/>
                    <a:pt x="347" y="37"/>
                    <a:pt x="346" y="38"/>
                  </a:cubicBezTo>
                  <a:cubicBezTo>
                    <a:pt x="346" y="38"/>
                    <a:pt x="349" y="41"/>
                    <a:pt x="348" y="36"/>
                  </a:cubicBezTo>
                  <a:cubicBezTo>
                    <a:pt x="353" y="37"/>
                    <a:pt x="352" y="31"/>
                    <a:pt x="355" y="30"/>
                  </a:cubicBezTo>
                  <a:cubicBezTo>
                    <a:pt x="354" y="27"/>
                    <a:pt x="352" y="24"/>
                    <a:pt x="347" y="24"/>
                  </a:cubicBezTo>
                  <a:cubicBezTo>
                    <a:pt x="349" y="22"/>
                    <a:pt x="345" y="19"/>
                    <a:pt x="341" y="18"/>
                  </a:cubicBezTo>
                  <a:cubicBezTo>
                    <a:pt x="341" y="16"/>
                    <a:pt x="341" y="15"/>
                    <a:pt x="340" y="14"/>
                  </a:cubicBezTo>
                  <a:cubicBezTo>
                    <a:pt x="340" y="12"/>
                    <a:pt x="343" y="11"/>
                    <a:pt x="343" y="9"/>
                  </a:cubicBezTo>
                  <a:cubicBezTo>
                    <a:pt x="343" y="8"/>
                    <a:pt x="346" y="7"/>
                    <a:pt x="346" y="6"/>
                  </a:cubicBezTo>
                  <a:cubicBezTo>
                    <a:pt x="343" y="3"/>
                    <a:pt x="350" y="7"/>
                    <a:pt x="347" y="4"/>
                  </a:cubicBezTo>
                  <a:cubicBezTo>
                    <a:pt x="347" y="0"/>
                    <a:pt x="350" y="5"/>
                    <a:pt x="350" y="5"/>
                  </a:cubicBezTo>
                  <a:cubicBezTo>
                    <a:pt x="352" y="5"/>
                    <a:pt x="354" y="4"/>
                    <a:pt x="355" y="5"/>
                  </a:cubicBezTo>
                  <a:cubicBezTo>
                    <a:pt x="356" y="5"/>
                    <a:pt x="354" y="7"/>
                    <a:pt x="354" y="7"/>
                  </a:cubicBezTo>
                  <a:cubicBezTo>
                    <a:pt x="355" y="8"/>
                    <a:pt x="357" y="7"/>
                    <a:pt x="358" y="7"/>
                  </a:cubicBezTo>
                  <a:cubicBezTo>
                    <a:pt x="358" y="8"/>
                    <a:pt x="357" y="10"/>
                    <a:pt x="358" y="11"/>
                  </a:cubicBezTo>
                  <a:cubicBezTo>
                    <a:pt x="358" y="11"/>
                    <a:pt x="360" y="11"/>
                    <a:pt x="360" y="11"/>
                  </a:cubicBezTo>
                  <a:cubicBezTo>
                    <a:pt x="361" y="14"/>
                    <a:pt x="358" y="13"/>
                    <a:pt x="360" y="16"/>
                  </a:cubicBezTo>
                  <a:cubicBezTo>
                    <a:pt x="360" y="16"/>
                    <a:pt x="361" y="17"/>
                    <a:pt x="361" y="18"/>
                  </a:cubicBezTo>
                  <a:cubicBezTo>
                    <a:pt x="361" y="18"/>
                    <a:pt x="360" y="18"/>
                    <a:pt x="360" y="19"/>
                  </a:cubicBezTo>
                  <a:cubicBezTo>
                    <a:pt x="360" y="21"/>
                    <a:pt x="359" y="21"/>
                    <a:pt x="359" y="23"/>
                  </a:cubicBezTo>
                  <a:cubicBezTo>
                    <a:pt x="359" y="25"/>
                    <a:pt x="366" y="25"/>
                    <a:pt x="365" y="22"/>
                  </a:cubicBezTo>
                  <a:cubicBezTo>
                    <a:pt x="367" y="22"/>
                    <a:pt x="366" y="25"/>
                    <a:pt x="369" y="24"/>
                  </a:cubicBezTo>
                  <a:cubicBezTo>
                    <a:pt x="367" y="26"/>
                    <a:pt x="370" y="26"/>
                    <a:pt x="369" y="30"/>
                  </a:cubicBezTo>
                  <a:cubicBezTo>
                    <a:pt x="374" y="30"/>
                    <a:pt x="373" y="26"/>
                    <a:pt x="378" y="29"/>
                  </a:cubicBezTo>
                  <a:cubicBezTo>
                    <a:pt x="379" y="29"/>
                    <a:pt x="379" y="28"/>
                    <a:pt x="379" y="27"/>
                  </a:cubicBezTo>
                  <a:cubicBezTo>
                    <a:pt x="381" y="28"/>
                    <a:pt x="377" y="29"/>
                    <a:pt x="380" y="31"/>
                  </a:cubicBezTo>
                  <a:cubicBezTo>
                    <a:pt x="380" y="31"/>
                    <a:pt x="382" y="32"/>
                    <a:pt x="382" y="32"/>
                  </a:cubicBezTo>
                  <a:cubicBezTo>
                    <a:pt x="382" y="34"/>
                    <a:pt x="378" y="36"/>
                    <a:pt x="380" y="39"/>
                  </a:cubicBezTo>
                  <a:close/>
                  <a:moveTo>
                    <a:pt x="240" y="52"/>
                  </a:moveTo>
                  <a:cubicBezTo>
                    <a:pt x="239" y="50"/>
                    <a:pt x="242" y="49"/>
                    <a:pt x="240" y="49"/>
                  </a:cubicBezTo>
                  <a:cubicBezTo>
                    <a:pt x="240" y="49"/>
                    <a:pt x="240" y="50"/>
                    <a:pt x="239" y="50"/>
                  </a:cubicBezTo>
                  <a:cubicBezTo>
                    <a:pt x="238" y="48"/>
                    <a:pt x="239" y="46"/>
                    <a:pt x="237" y="46"/>
                  </a:cubicBezTo>
                  <a:cubicBezTo>
                    <a:pt x="236" y="48"/>
                    <a:pt x="231" y="52"/>
                    <a:pt x="228" y="49"/>
                  </a:cubicBezTo>
                  <a:cubicBezTo>
                    <a:pt x="228" y="46"/>
                    <a:pt x="233" y="49"/>
                    <a:pt x="232" y="45"/>
                  </a:cubicBezTo>
                  <a:cubicBezTo>
                    <a:pt x="231" y="45"/>
                    <a:pt x="229" y="45"/>
                    <a:pt x="229" y="44"/>
                  </a:cubicBezTo>
                  <a:cubicBezTo>
                    <a:pt x="227" y="43"/>
                    <a:pt x="226" y="46"/>
                    <a:pt x="225" y="46"/>
                  </a:cubicBezTo>
                  <a:cubicBezTo>
                    <a:pt x="222" y="47"/>
                    <a:pt x="219" y="47"/>
                    <a:pt x="216" y="47"/>
                  </a:cubicBezTo>
                  <a:cubicBezTo>
                    <a:pt x="216" y="48"/>
                    <a:pt x="216" y="48"/>
                    <a:pt x="215" y="49"/>
                  </a:cubicBezTo>
                  <a:cubicBezTo>
                    <a:pt x="211" y="50"/>
                    <a:pt x="207" y="50"/>
                    <a:pt x="203" y="50"/>
                  </a:cubicBezTo>
                  <a:cubicBezTo>
                    <a:pt x="204" y="52"/>
                    <a:pt x="202" y="53"/>
                    <a:pt x="203" y="53"/>
                  </a:cubicBezTo>
                  <a:cubicBezTo>
                    <a:pt x="203" y="52"/>
                    <a:pt x="205" y="52"/>
                    <a:pt x="204" y="55"/>
                  </a:cubicBezTo>
                  <a:cubicBezTo>
                    <a:pt x="210" y="55"/>
                    <a:pt x="217" y="50"/>
                    <a:pt x="219" y="55"/>
                  </a:cubicBezTo>
                  <a:cubicBezTo>
                    <a:pt x="216" y="52"/>
                    <a:pt x="217" y="55"/>
                    <a:pt x="215" y="56"/>
                  </a:cubicBezTo>
                  <a:cubicBezTo>
                    <a:pt x="213" y="56"/>
                    <a:pt x="211" y="56"/>
                    <a:pt x="210" y="58"/>
                  </a:cubicBezTo>
                  <a:cubicBezTo>
                    <a:pt x="217" y="59"/>
                    <a:pt x="220" y="57"/>
                    <a:pt x="226" y="57"/>
                  </a:cubicBezTo>
                  <a:cubicBezTo>
                    <a:pt x="226" y="58"/>
                    <a:pt x="225" y="60"/>
                    <a:pt x="227" y="60"/>
                  </a:cubicBezTo>
                  <a:cubicBezTo>
                    <a:pt x="227" y="59"/>
                    <a:pt x="229" y="59"/>
                    <a:pt x="230" y="59"/>
                  </a:cubicBezTo>
                  <a:cubicBezTo>
                    <a:pt x="231" y="57"/>
                    <a:pt x="231" y="55"/>
                    <a:pt x="233" y="55"/>
                  </a:cubicBezTo>
                  <a:cubicBezTo>
                    <a:pt x="235" y="53"/>
                    <a:pt x="234" y="55"/>
                    <a:pt x="237" y="55"/>
                  </a:cubicBezTo>
                  <a:cubicBezTo>
                    <a:pt x="238" y="53"/>
                    <a:pt x="238" y="52"/>
                    <a:pt x="240" y="52"/>
                  </a:cubicBezTo>
                  <a:close/>
                  <a:moveTo>
                    <a:pt x="248" y="92"/>
                  </a:moveTo>
                  <a:cubicBezTo>
                    <a:pt x="249" y="89"/>
                    <a:pt x="253" y="90"/>
                    <a:pt x="254" y="89"/>
                  </a:cubicBezTo>
                  <a:cubicBezTo>
                    <a:pt x="254" y="88"/>
                    <a:pt x="256" y="89"/>
                    <a:pt x="256" y="89"/>
                  </a:cubicBezTo>
                  <a:cubicBezTo>
                    <a:pt x="258" y="88"/>
                    <a:pt x="260" y="88"/>
                    <a:pt x="262" y="87"/>
                  </a:cubicBezTo>
                  <a:cubicBezTo>
                    <a:pt x="262" y="87"/>
                    <a:pt x="263" y="85"/>
                    <a:pt x="263" y="85"/>
                  </a:cubicBezTo>
                  <a:cubicBezTo>
                    <a:pt x="266" y="83"/>
                    <a:pt x="269" y="86"/>
                    <a:pt x="269" y="84"/>
                  </a:cubicBezTo>
                  <a:cubicBezTo>
                    <a:pt x="269" y="84"/>
                    <a:pt x="268" y="83"/>
                    <a:pt x="269" y="83"/>
                  </a:cubicBezTo>
                  <a:cubicBezTo>
                    <a:pt x="272" y="83"/>
                    <a:pt x="272" y="81"/>
                    <a:pt x="273" y="83"/>
                  </a:cubicBezTo>
                  <a:cubicBezTo>
                    <a:pt x="273" y="84"/>
                    <a:pt x="274" y="82"/>
                    <a:pt x="274" y="82"/>
                  </a:cubicBezTo>
                  <a:cubicBezTo>
                    <a:pt x="272" y="82"/>
                    <a:pt x="274" y="79"/>
                    <a:pt x="276" y="82"/>
                  </a:cubicBezTo>
                  <a:cubicBezTo>
                    <a:pt x="277" y="79"/>
                    <a:pt x="279" y="79"/>
                    <a:pt x="279" y="76"/>
                  </a:cubicBezTo>
                  <a:cubicBezTo>
                    <a:pt x="274" y="75"/>
                    <a:pt x="274" y="78"/>
                    <a:pt x="269" y="77"/>
                  </a:cubicBezTo>
                  <a:cubicBezTo>
                    <a:pt x="269" y="79"/>
                    <a:pt x="268" y="80"/>
                    <a:pt x="267" y="80"/>
                  </a:cubicBezTo>
                  <a:cubicBezTo>
                    <a:pt x="263" y="82"/>
                    <a:pt x="264" y="80"/>
                    <a:pt x="261" y="80"/>
                  </a:cubicBezTo>
                  <a:cubicBezTo>
                    <a:pt x="260" y="81"/>
                    <a:pt x="261" y="82"/>
                    <a:pt x="259" y="82"/>
                  </a:cubicBezTo>
                  <a:cubicBezTo>
                    <a:pt x="257" y="81"/>
                    <a:pt x="256" y="80"/>
                    <a:pt x="254" y="80"/>
                  </a:cubicBezTo>
                  <a:cubicBezTo>
                    <a:pt x="254" y="80"/>
                    <a:pt x="254" y="78"/>
                    <a:pt x="253" y="78"/>
                  </a:cubicBezTo>
                  <a:cubicBezTo>
                    <a:pt x="253" y="80"/>
                    <a:pt x="252" y="81"/>
                    <a:pt x="252" y="82"/>
                  </a:cubicBezTo>
                  <a:cubicBezTo>
                    <a:pt x="252" y="83"/>
                    <a:pt x="254" y="83"/>
                    <a:pt x="254" y="84"/>
                  </a:cubicBezTo>
                  <a:cubicBezTo>
                    <a:pt x="250" y="83"/>
                    <a:pt x="250" y="85"/>
                    <a:pt x="249" y="86"/>
                  </a:cubicBezTo>
                  <a:cubicBezTo>
                    <a:pt x="248" y="88"/>
                    <a:pt x="245" y="87"/>
                    <a:pt x="245" y="89"/>
                  </a:cubicBezTo>
                  <a:cubicBezTo>
                    <a:pt x="244" y="91"/>
                    <a:pt x="239" y="88"/>
                    <a:pt x="241" y="92"/>
                  </a:cubicBezTo>
                  <a:cubicBezTo>
                    <a:pt x="243" y="92"/>
                    <a:pt x="246" y="92"/>
                    <a:pt x="248" y="92"/>
                  </a:cubicBezTo>
                  <a:close/>
                  <a:moveTo>
                    <a:pt x="334" y="138"/>
                  </a:moveTo>
                  <a:cubicBezTo>
                    <a:pt x="333" y="138"/>
                    <a:pt x="333" y="139"/>
                    <a:pt x="333" y="139"/>
                  </a:cubicBezTo>
                  <a:cubicBezTo>
                    <a:pt x="332" y="139"/>
                    <a:pt x="329" y="140"/>
                    <a:pt x="329" y="140"/>
                  </a:cubicBezTo>
                  <a:cubicBezTo>
                    <a:pt x="328" y="142"/>
                    <a:pt x="330" y="145"/>
                    <a:pt x="328" y="145"/>
                  </a:cubicBezTo>
                  <a:cubicBezTo>
                    <a:pt x="328" y="144"/>
                    <a:pt x="328" y="142"/>
                    <a:pt x="327" y="142"/>
                  </a:cubicBezTo>
                  <a:cubicBezTo>
                    <a:pt x="327" y="143"/>
                    <a:pt x="327" y="145"/>
                    <a:pt x="327" y="146"/>
                  </a:cubicBezTo>
                  <a:cubicBezTo>
                    <a:pt x="329" y="146"/>
                    <a:pt x="331" y="146"/>
                    <a:pt x="333" y="146"/>
                  </a:cubicBezTo>
                  <a:cubicBezTo>
                    <a:pt x="332" y="148"/>
                    <a:pt x="335" y="150"/>
                    <a:pt x="335" y="151"/>
                  </a:cubicBezTo>
                  <a:cubicBezTo>
                    <a:pt x="336" y="155"/>
                    <a:pt x="337" y="154"/>
                    <a:pt x="339" y="156"/>
                  </a:cubicBezTo>
                  <a:cubicBezTo>
                    <a:pt x="337" y="156"/>
                    <a:pt x="336" y="156"/>
                    <a:pt x="336" y="158"/>
                  </a:cubicBezTo>
                  <a:cubicBezTo>
                    <a:pt x="336" y="160"/>
                    <a:pt x="338" y="160"/>
                    <a:pt x="338" y="162"/>
                  </a:cubicBezTo>
                  <a:cubicBezTo>
                    <a:pt x="339" y="162"/>
                    <a:pt x="341" y="162"/>
                    <a:pt x="342" y="162"/>
                  </a:cubicBezTo>
                  <a:cubicBezTo>
                    <a:pt x="344" y="160"/>
                    <a:pt x="344" y="157"/>
                    <a:pt x="343" y="155"/>
                  </a:cubicBezTo>
                  <a:cubicBezTo>
                    <a:pt x="342" y="154"/>
                    <a:pt x="341" y="153"/>
                    <a:pt x="340" y="152"/>
                  </a:cubicBezTo>
                  <a:cubicBezTo>
                    <a:pt x="342" y="146"/>
                    <a:pt x="340" y="149"/>
                    <a:pt x="339" y="148"/>
                  </a:cubicBezTo>
                  <a:cubicBezTo>
                    <a:pt x="337" y="145"/>
                    <a:pt x="338" y="141"/>
                    <a:pt x="336" y="138"/>
                  </a:cubicBezTo>
                  <a:cubicBezTo>
                    <a:pt x="336" y="138"/>
                    <a:pt x="335" y="138"/>
                    <a:pt x="334" y="138"/>
                  </a:cubicBezTo>
                  <a:close/>
                  <a:moveTo>
                    <a:pt x="380" y="175"/>
                  </a:moveTo>
                  <a:cubicBezTo>
                    <a:pt x="376" y="173"/>
                    <a:pt x="377" y="176"/>
                    <a:pt x="375" y="177"/>
                  </a:cubicBezTo>
                  <a:cubicBezTo>
                    <a:pt x="375" y="176"/>
                    <a:pt x="374" y="176"/>
                    <a:pt x="373" y="176"/>
                  </a:cubicBezTo>
                  <a:cubicBezTo>
                    <a:pt x="373" y="180"/>
                    <a:pt x="369" y="178"/>
                    <a:pt x="367" y="179"/>
                  </a:cubicBezTo>
                  <a:cubicBezTo>
                    <a:pt x="366" y="180"/>
                    <a:pt x="367" y="181"/>
                    <a:pt x="366" y="182"/>
                  </a:cubicBezTo>
                  <a:cubicBezTo>
                    <a:pt x="365" y="182"/>
                    <a:pt x="363" y="182"/>
                    <a:pt x="363" y="183"/>
                  </a:cubicBezTo>
                  <a:cubicBezTo>
                    <a:pt x="365" y="183"/>
                    <a:pt x="363" y="184"/>
                    <a:pt x="363" y="186"/>
                  </a:cubicBezTo>
                  <a:cubicBezTo>
                    <a:pt x="366" y="188"/>
                    <a:pt x="366" y="185"/>
                    <a:pt x="368" y="184"/>
                  </a:cubicBezTo>
                  <a:cubicBezTo>
                    <a:pt x="370" y="183"/>
                    <a:pt x="373" y="184"/>
                    <a:pt x="375" y="184"/>
                  </a:cubicBezTo>
                  <a:cubicBezTo>
                    <a:pt x="377" y="184"/>
                    <a:pt x="377" y="183"/>
                    <a:pt x="379" y="183"/>
                  </a:cubicBezTo>
                  <a:cubicBezTo>
                    <a:pt x="382" y="183"/>
                    <a:pt x="385" y="184"/>
                    <a:pt x="386" y="185"/>
                  </a:cubicBezTo>
                  <a:cubicBezTo>
                    <a:pt x="385" y="185"/>
                    <a:pt x="383" y="185"/>
                    <a:pt x="383" y="186"/>
                  </a:cubicBezTo>
                  <a:cubicBezTo>
                    <a:pt x="384" y="186"/>
                    <a:pt x="385" y="188"/>
                    <a:pt x="385" y="188"/>
                  </a:cubicBezTo>
                  <a:cubicBezTo>
                    <a:pt x="385" y="188"/>
                    <a:pt x="386" y="186"/>
                    <a:pt x="386" y="186"/>
                  </a:cubicBezTo>
                  <a:cubicBezTo>
                    <a:pt x="390" y="187"/>
                    <a:pt x="389" y="187"/>
                    <a:pt x="392" y="185"/>
                  </a:cubicBezTo>
                  <a:cubicBezTo>
                    <a:pt x="395" y="183"/>
                    <a:pt x="398" y="187"/>
                    <a:pt x="400" y="184"/>
                  </a:cubicBezTo>
                  <a:cubicBezTo>
                    <a:pt x="397" y="183"/>
                    <a:pt x="401" y="179"/>
                    <a:pt x="398" y="182"/>
                  </a:cubicBezTo>
                  <a:cubicBezTo>
                    <a:pt x="396" y="184"/>
                    <a:pt x="395" y="177"/>
                    <a:pt x="395" y="177"/>
                  </a:cubicBezTo>
                  <a:cubicBezTo>
                    <a:pt x="395" y="176"/>
                    <a:pt x="392" y="177"/>
                    <a:pt x="393" y="175"/>
                  </a:cubicBezTo>
                  <a:cubicBezTo>
                    <a:pt x="391" y="175"/>
                    <a:pt x="389" y="175"/>
                    <a:pt x="387" y="175"/>
                  </a:cubicBezTo>
                  <a:cubicBezTo>
                    <a:pt x="387" y="173"/>
                    <a:pt x="388" y="173"/>
                    <a:pt x="387" y="171"/>
                  </a:cubicBezTo>
                  <a:cubicBezTo>
                    <a:pt x="383" y="172"/>
                    <a:pt x="384" y="171"/>
                    <a:pt x="380" y="171"/>
                  </a:cubicBezTo>
                  <a:cubicBezTo>
                    <a:pt x="379" y="173"/>
                    <a:pt x="379" y="173"/>
                    <a:pt x="380" y="175"/>
                  </a:cubicBezTo>
                  <a:close/>
                  <a:moveTo>
                    <a:pt x="412" y="204"/>
                  </a:moveTo>
                  <a:cubicBezTo>
                    <a:pt x="411" y="204"/>
                    <a:pt x="410" y="204"/>
                    <a:pt x="411" y="203"/>
                  </a:cubicBezTo>
                  <a:cubicBezTo>
                    <a:pt x="416" y="204"/>
                    <a:pt x="411" y="195"/>
                    <a:pt x="415" y="196"/>
                  </a:cubicBezTo>
                  <a:cubicBezTo>
                    <a:pt x="418" y="198"/>
                    <a:pt x="419" y="195"/>
                    <a:pt x="422" y="196"/>
                  </a:cubicBezTo>
                  <a:cubicBezTo>
                    <a:pt x="420" y="189"/>
                    <a:pt x="412" y="187"/>
                    <a:pt x="405" y="189"/>
                  </a:cubicBezTo>
                  <a:cubicBezTo>
                    <a:pt x="404" y="188"/>
                    <a:pt x="403" y="188"/>
                    <a:pt x="403" y="186"/>
                  </a:cubicBezTo>
                  <a:cubicBezTo>
                    <a:pt x="401" y="186"/>
                    <a:pt x="400" y="189"/>
                    <a:pt x="398" y="189"/>
                  </a:cubicBezTo>
                  <a:cubicBezTo>
                    <a:pt x="396" y="189"/>
                    <a:pt x="396" y="187"/>
                    <a:pt x="394" y="188"/>
                  </a:cubicBezTo>
                  <a:cubicBezTo>
                    <a:pt x="392" y="188"/>
                    <a:pt x="392" y="189"/>
                    <a:pt x="391" y="190"/>
                  </a:cubicBezTo>
                  <a:cubicBezTo>
                    <a:pt x="389" y="191"/>
                    <a:pt x="388" y="190"/>
                    <a:pt x="386" y="191"/>
                  </a:cubicBezTo>
                  <a:cubicBezTo>
                    <a:pt x="386" y="193"/>
                    <a:pt x="385" y="194"/>
                    <a:pt x="383" y="195"/>
                  </a:cubicBezTo>
                  <a:cubicBezTo>
                    <a:pt x="384" y="204"/>
                    <a:pt x="382" y="205"/>
                    <a:pt x="382" y="215"/>
                  </a:cubicBezTo>
                  <a:cubicBezTo>
                    <a:pt x="387" y="216"/>
                    <a:pt x="385" y="211"/>
                    <a:pt x="388" y="212"/>
                  </a:cubicBezTo>
                  <a:cubicBezTo>
                    <a:pt x="388" y="210"/>
                    <a:pt x="389" y="209"/>
                    <a:pt x="389" y="208"/>
                  </a:cubicBezTo>
                  <a:cubicBezTo>
                    <a:pt x="391" y="205"/>
                    <a:pt x="390" y="202"/>
                    <a:pt x="391" y="198"/>
                  </a:cubicBezTo>
                  <a:cubicBezTo>
                    <a:pt x="391" y="198"/>
                    <a:pt x="393" y="196"/>
                    <a:pt x="393" y="196"/>
                  </a:cubicBezTo>
                  <a:cubicBezTo>
                    <a:pt x="393" y="195"/>
                    <a:pt x="392" y="192"/>
                    <a:pt x="394" y="192"/>
                  </a:cubicBezTo>
                  <a:cubicBezTo>
                    <a:pt x="396" y="192"/>
                    <a:pt x="398" y="192"/>
                    <a:pt x="399" y="191"/>
                  </a:cubicBezTo>
                  <a:cubicBezTo>
                    <a:pt x="397" y="195"/>
                    <a:pt x="403" y="192"/>
                    <a:pt x="402" y="195"/>
                  </a:cubicBezTo>
                  <a:cubicBezTo>
                    <a:pt x="403" y="198"/>
                    <a:pt x="403" y="197"/>
                    <a:pt x="402" y="201"/>
                  </a:cubicBezTo>
                  <a:cubicBezTo>
                    <a:pt x="403" y="201"/>
                    <a:pt x="405" y="201"/>
                    <a:pt x="405" y="202"/>
                  </a:cubicBezTo>
                  <a:cubicBezTo>
                    <a:pt x="404" y="202"/>
                    <a:pt x="402" y="202"/>
                    <a:pt x="402" y="203"/>
                  </a:cubicBezTo>
                  <a:cubicBezTo>
                    <a:pt x="406" y="202"/>
                    <a:pt x="410" y="206"/>
                    <a:pt x="412" y="204"/>
                  </a:cubicBezTo>
                  <a:close/>
                  <a:moveTo>
                    <a:pt x="433" y="199"/>
                  </a:moveTo>
                  <a:cubicBezTo>
                    <a:pt x="433" y="199"/>
                    <a:pt x="433" y="202"/>
                    <a:pt x="433" y="202"/>
                  </a:cubicBezTo>
                  <a:cubicBezTo>
                    <a:pt x="431" y="204"/>
                    <a:pt x="426" y="198"/>
                    <a:pt x="423" y="201"/>
                  </a:cubicBezTo>
                  <a:cubicBezTo>
                    <a:pt x="424" y="203"/>
                    <a:pt x="422" y="203"/>
                    <a:pt x="421" y="204"/>
                  </a:cubicBezTo>
                  <a:cubicBezTo>
                    <a:pt x="424" y="207"/>
                    <a:pt x="425" y="205"/>
                    <a:pt x="428" y="205"/>
                  </a:cubicBezTo>
                  <a:cubicBezTo>
                    <a:pt x="431" y="205"/>
                    <a:pt x="435" y="206"/>
                    <a:pt x="436" y="204"/>
                  </a:cubicBezTo>
                  <a:cubicBezTo>
                    <a:pt x="436" y="204"/>
                    <a:pt x="435" y="203"/>
                    <a:pt x="436" y="203"/>
                  </a:cubicBezTo>
                  <a:cubicBezTo>
                    <a:pt x="437" y="203"/>
                    <a:pt x="439" y="203"/>
                    <a:pt x="439" y="202"/>
                  </a:cubicBezTo>
                  <a:cubicBezTo>
                    <a:pt x="436" y="202"/>
                    <a:pt x="435" y="199"/>
                    <a:pt x="433" y="199"/>
                  </a:cubicBezTo>
                  <a:close/>
                  <a:moveTo>
                    <a:pt x="416" y="209"/>
                  </a:moveTo>
                  <a:cubicBezTo>
                    <a:pt x="416" y="209"/>
                    <a:pt x="416" y="207"/>
                    <a:pt x="414" y="208"/>
                  </a:cubicBezTo>
                  <a:cubicBezTo>
                    <a:pt x="414" y="208"/>
                    <a:pt x="414" y="210"/>
                    <a:pt x="414" y="210"/>
                  </a:cubicBezTo>
                  <a:cubicBezTo>
                    <a:pt x="412" y="210"/>
                    <a:pt x="410" y="210"/>
                    <a:pt x="408" y="210"/>
                  </a:cubicBezTo>
                  <a:cubicBezTo>
                    <a:pt x="410" y="214"/>
                    <a:pt x="404" y="211"/>
                    <a:pt x="405" y="213"/>
                  </a:cubicBezTo>
                  <a:cubicBezTo>
                    <a:pt x="406" y="213"/>
                    <a:pt x="407" y="213"/>
                    <a:pt x="408" y="213"/>
                  </a:cubicBezTo>
                  <a:cubicBezTo>
                    <a:pt x="408" y="215"/>
                    <a:pt x="407" y="215"/>
                    <a:pt x="407" y="216"/>
                  </a:cubicBezTo>
                  <a:cubicBezTo>
                    <a:pt x="410" y="217"/>
                    <a:pt x="409" y="213"/>
                    <a:pt x="412" y="213"/>
                  </a:cubicBezTo>
                  <a:cubicBezTo>
                    <a:pt x="413" y="214"/>
                    <a:pt x="415" y="215"/>
                    <a:pt x="418" y="215"/>
                  </a:cubicBezTo>
                  <a:cubicBezTo>
                    <a:pt x="417" y="210"/>
                    <a:pt x="425" y="214"/>
                    <a:pt x="423" y="208"/>
                  </a:cubicBezTo>
                  <a:cubicBezTo>
                    <a:pt x="420" y="206"/>
                    <a:pt x="418" y="209"/>
                    <a:pt x="416" y="209"/>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0" name="Freeform 92"/>
            <p:cNvSpPr/>
            <p:nvPr/>
          </p:nvSpPr>
          <p:spPr bwMode="auto">
            <a:xfrm>
              <a:off x="3956400" y="1913657"/>
              <a:ext cx="142875" cy="217487"/>
            </a:xfrm>
            <a:custGeom>
              <a:avLst/>
              <a:gdLst>
                <a:gd name="T0" fmla="*/ 26 w 38"/>
                <a:gd name="T1" fmla="*/ 14 h 58"/>
                <a:gd name="T2" fmla="*/ 45 w 38"/>
                <a:gd name="T3" fmla="*/ 9 h 58"/>
                <a:gd name="T4" fmla="*/ 47 w 38"/>
                <a:gd name="T5" fmla="*/ 26 h 58"/>
                <a:gd name="T6" fmla="*/ 33 w 38"/>
                <a:gd name="T7" fmla="*/ 35 h 58"/>
                <a:gd name="T8" fmla="*/ 50 w 38"/>
                <a:gd name="T9" fmla="*/ 45 h 58"/>
                <a:gd name="T10" fmla="*/ 59 w 38"/>
                <a:gd name="T11" fmla="*/ 64 h 58"/>
                <a:gd name="T12" fmla="*/ 64 w 38"/>
                <a:gd name="T13" fmla="*/ 69 h 58"/>
                <a:gd name="T14" fmla="*/ 76 w 38"/>
                <a:gd name="T15" fmla="*/ 73 h 58"/>
                <a:gd name="T16" fmla="*/ 71 w 38"/>
                <a:gd name="T17" fmla="*/ 85 h 58"/>
                <a:gd name="T18" fmla="*/ 88 w 38"/>
                <a:gd name="T19" fmla="*/ 87 h 58"/>
                <a:gd name="T20" fmla="*/ 88 w 38"/>
                <a:gd name="T21" fmla="*/ 104 h 58"/>
                <a:gd name="T22" fmla="*/ 81 w 38"/>
                <a:gd name="T23" fmla="*/ 104 h 58"/>
                <a:gd name="T24" fmla="*/ 88 w 38"/>
                <a:gd name="T25" fmla="*/ 109 h 58"/>
                <a:gd name="T26" fmla="*/ 81 w 38"/>
                <a:gd name="T27" fmla="*/ 116 h 58"/>
                <a:gd name="T28" fmla="*/ 73 w 38"/>
                <a:gd name="T29" fmla="*/ 120 h 58"/>
                <a:gd name="T30" fmla="*/ 45 w 38"/>
                <a:gd name="T31" fmla="*/ 118 h 58"/>
                <a:gd name="T32" fmla="*/ 33 w 38"/>
                <a:gd name="T33" fmla="*/ 120 h 58"/>
                <a:gd name="T34" fmla="*/ 14 w 38"/>
                <a:gd name="T35" fmla="*/ 120 h 58"/>
                <a:gd name="T36" fmla="*/ 19 w 38"/>
                <a:gd name="T37" fmla="*/ 118 h 58"/>
                <a:gd name="T38" fmla="*/ 24 w 38"/>
                <a:gd name="T39" fmla="*/ 120 h 58"/>
                <a:gd name="T40" fmla="*/ 26 w 38"/>
                <a:gd name="T41" fmla="*/ 116 h 58"/>
                <a:gd name="T42" fmla="*/ 43 w 38"/>
                <a:gd name="T43" fmla="*/ 113 h 58"/>
                <a:gd name="T44" fmla="*/ 19 w 38"/>
                <a:gd name="T45" fmla="*/ 104 h 58"/>
                <a:gd name="T46" fmla="*/ 19 w 38"/>
                <a:gd name="T47" fmla="*/ 87 h 58"/>
                <a:gd name="T48" fmla="*/ 26 w 38"/>
                <a:gd name="T49" fmla="*/ 85 h 58"/>
                <a:gd name="T50" fmla="*/ 36 w 38"/>
                <a:gd name="T51" fmla="*/ 85 h 58"/>
                <a:gd name="T52" fmla="*/ 40 w 38"/>
                <a:gd name="T53" fmla="*/ 69 h 58"/>
                <a:gd name="T54" fmla="*/ 31 w 38"/>
                <a:gd name="T55" fmla="*/ 57 h 58"/>
                <a:gd name="T56" fmla="*/ 19 w 38"/>
                <a:gd name="T57" fmla="*/ 61 h 58"/>
                <a:gd name="T58" fmla="*/ 19 w 38"/>
                <a:gd name="T59" fmla="*/ 47 h 58"/>
                <a:gd name="T60" fmla="*/ 9 w 38"/>
                <a:gd name="T61" fmla="*/ 40 h 58"/>
                <a:gd name="T62" fmla="*/ 0 w 38"/>
                <a:gd name="T63" fmla="*/ 14 h 58"/>
                <a:gd name="T64" fmla="*/ 14 w 38"/>
                <a:gd name="T65" fmla="*/ 0 h 58"/>
                <a:gd name="T66" fmla="*/ 40 w 38"/>
                <a:gd name="T67" fmla="*/ 0 h 58"/>
                <a:gd name="T68" fmla="*/ 26 w 38"/>
                <a:gd name="T69" fmla="*/ 14 h 5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 h="58">
                  <a:moveTo>
                    <a:pt x="11" y="6"/>
                  </a:moveTo>
                  <a:cubicBezTo>
                    <a:pt x="11" y="8"/>
                    <a:pt x="16" y="4"/>
                    <a:pt x="19" y="4"/>
                  </a:cubicBezTo>
                  <a:cubicBezTo>
                    <a:pt x="20" y="6"/>
                    <a:pt x="20" y="9"/>
                    <a:pt x="20" y="11"/>
                  </a:cubicBezTo>
                  <a:cubicBezTo>
                    <a:pt x="17" y="12"/>
                    <a:pt x="15" y="13"/>
                    <a:pt x="14" y="15"/>
                  </a:cubicBezTo>
                  <a:cubicBezTo>
                    <a:pt x="15" y="17"/>
                    <a:pt x="18" y="19"/>
                    <a:pt x="21" y="19"/>
                  </a:cubicBezTo>
                  <a:cubicBezTo>
                    <a:pt x="21" y="23"/>
                    <a:pt x="26" y="22"/>
                    <a:pt x="25" y="27"/>
                  </a:cubicBezTo>
                  <a:cubicBezTo>
                    <a:pt x="25" y="28"/>
                    <a:pt x="27" y="28"/>
                    <a:pt x="27" y="29"/>
                  </a:cubicBezTo>
                  <a:cubicBezTo>
                    <a:pt x="27" y="31"/>
                    <a:pt x="31" y="30"/>
                    <a:pt x="32" y="31"/>
                  </a:cubicBezTo>
                  <a:cubicBezTo>
                    <a:pt x="31" y="33"/>
                    <a:pt x="30" y="34"/>
                    <a:pt x="30" y="36"/>
                  </a:cubicBezTo>
                  <a:cubicBezTo>
                    <a:pt x="32" y="36"/>
                    <a:pt x="35" y="36"/>
                    <a:pt x="37" y="37"/>
                  </a:cubicBezTo>
                  <a:cubicBezTo>
                    <a:pt x="35" y="39"/>
                    <a:pt x="38" y="42"/>
                    <a:pt x="37" y="44"/>
                  </a:cubicBezTo>
                  <a:cubicBezTo>
                    <a:pt x="36" y="45"/>
                    <a:pt x="34" y="44"/>
                    <a:pt x="34" y="44"/>
                  </a:cubicBezTo>
                  <a:cubicBezTo>
                    <a:pt x="34" y="46"/>
                    <a:pt x="36" y="45"/>
                    <a:pt x="37" y="46"/>
                  </a:cubicBezTo>
                  <a:cubicBezTo>
                    <a:pt x="36" y="47"/>
                    <a:pt x="34" y="47"/>
                    <a:pt x="34" y="49"/>
                  </a:cubicBezTo>
                  <a:cubicBezTo>
                    <a:pt x="33" y="50"/>
                    <a:pt x="32" y="51"/>
                    <a:pt x="31" y="51"/>
                  </a:cubicBezTo>
                  <a:cubicBezTo>
                    <a:pt x="27" y="51"/>
                    <a:pt x="24" y="50"/>
                    <a:pt x="19" y="50"/>
                  </a:cubicBezTo>
                  <a:cubicBezTo>
                    <a:pt x="17" y="52"/>
                    <a:pt x="18" y="52"/>
                    <a:pt x="14" y="51"/>
                  </a:cubicBezTo>
                  <a:cubicBezTo>
                    <a:pt x="13" y="54"/>
                    <a:pt x="6" y="58"/>
                    <a:pt x="6" y="51"/>
                  </a:cubicBezTo>
                  <a:cubicBezTo>
                    <a:pt x="7" y="52"/>
                    <a:pt x="8" y="50"/>
                    <a:pt x="8" y="50"/>
                  </a:cubicBezTo>
                  <a:cubicBezTo>
                    <a:pt x="9" y="50"/>
                    <a:pt x="10" y="51"/>
                    <a:pt x="10" y="51"/>
                  </a:cubicBezTo>
                  <a:cubicBezTo>
                    <a:pt x="11" y="51"/>
                    <a:pt x="10" y="50"/>
                    <a:pt x="11" y="49"/>
                  </a:cubicBezTo>
                  <a:cubicBezTo>
                    <a:pt x="12" y="48"/>
                    <a:pt x="15" y="49"/>
                    <a:pt x="18" y="48"/>
                  </a:cubicBezTo>
                  <a:cubicBezTo>
                    <a:pt x="17" y="42"/>
                    <a:pt x="11" y="46"/>
                    <a:pt x="8" y="44"/>
                  </a:cubicBezTo>
                  <a:cubicBezTo>
                    <a:pt x="8" y="42"/>
                    <a:pt x="8" y="40"/>
                    <a:pt x="8" y="37"/>
                  </a:cubicBezTo>
                  <a:cubicBezTo>
                    <a:pt x="11" y="38"/>
                    <a:pt x="13" y="37"/>
                    <a:pt x="11" y="36"/>
                  </a:cubicBezTo>
                  <a:cubicBezTo>
                    <a:pt x="12" y="33"/>
                    <a:pt x="13" y="37"/>
                    <a:pt x="15" y="36"/>
                  </a:cubicBezTo>
                  <a:cubicBezTo>
                    <a:pt x="18" y="36"/>
                    <a:pt x="14" y="31"/>
                    <a:pt x="17" y="29"/>
                  </a:cubicBezTo>
                  <a:cubicBezTo>
                    <a:pt x="16" y="27"/>
                    <a:pt x="12" y="28"/>
                    <a:pt x="13" y="24"/>
                  </a:cubicBezTo>
                  <a:cubicBezTo>
                    <a:pt x="12" y="25"/>
                    <a:pt x="10" y="26"/>
                    <a:pt x="8" y="26"/>
                  </a:cubicBezTo>
                  <a:cubicBezTo>
                    <a:pt x="8" y="24"/>
                    <a:pt x="8" y="22"/>
                    <a:pt x="8" y="20"/>
                  </a:cubicBezTo>
                  <a:cubicBezTo>
                    <a:pt x="8" y="18"/>
                    <a:pt x="4" y="19"/>
                    <a:pt x="4" y="17"/>
                  </a:cubicBezTo>
                  <a:cubicBezTo>
                    <a:pt x="6" y="13"/>
                    <a:pt x="5" y="6"/>
                    <a:pt x="0" y="6"/>
                  </a:cubicBezTo>
                  <a:cubicBezTo>
                    <a:pt x="2" y="3"/>
                    <a:pt x="5" y="3"/>
                    <a:pt x="6" y="0"/>
                  </a:cubicBezTo>
                  <a:cubicBezTo>
                    <a:pt x="10" y="0"/>
                    <a:pt x="13" y="0"/>
                    <a:pt x="17" y="0"/>
                  </a:cubicBezTo>
                  <a:cubicBezTo>
                    <a:pt x="14" y="1"/>
                    <a:pt x="12" y="3"/>
                    <a:pt x="11" y="6"/>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1" name="Freeform 93"/>
            <p:cNvSpPr/>
            <p:nvPr/>
          </p:nvSpPr>
          <p:spPr bwMode="auto">
            <a:xfrm>
              <a:off x="7952964" y="1923899"/>
              <a:ext cx="38100" cy="30162"/>
            </a:xfrm>
            <a:custGeom>
              <a:avLst/>
              <a:gdLst>
                <a:gd name="T0" fmla="*/ 22 w 10"/>
                <a:gd name="T1" fmla="*/ 2 h 8"/>
                <a:gd name="T2" fmla="*/ 24 w 10"/>
                <a:gd name="T3" fmla="*/ 14 h 8"/>
                <a:gd name="T4" fmla="*/ 12 w 10"/>
                <a:gd name="T5" fmla="*/ 19 h 8"/>
                <a:gd name="T6" fmla="*/ 12 w 10"/>
                <a:gd name="T7" fmla="*/ 14 h 8"/>
                <a:gd name="T8" fmla="*/ 5 w 10"/>
                <a:gd name="T9" fmla="*/ 17 h 8"/>
                <a:gd name="T10" fmla="*/ 7 w 10"/>
                <a:gd name="T11" fmla="*/ 14 h 8"/>
                <a:gd name="T12" fmla="*/ 22 w 10"/>
                <a:gd name="T13" fmla="*/ 2 h 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 h="8">
                  <a:moveTo>
                    <a:pt x="9" y="1"/>
                  </a:moveTo>
                  <a:cubicBezTo>
                    <a:pt x="8" y="3"/>
                    <a:pt x="9" y="5"/>
                    <a:pt x="10" y="6"/>
                  </a:cubicBezTo>
                  <a:cubicBezTo>
                    <a:pt x="9" y="8"/>
                    <a:pt x="7" y="8"/>
                    <a:pt x="5" y="8"/>
                  </a:cubicBezTo>
                  <a:cubicBezTo>
                    <a:pt x="5" y="7"/>
                    <a:pt x="5" y="7"/>
                    <a:pt x="5" y="6"/>
                  </a:cubicBezTo>
                  <a:cubicBezTo>
                    <a:pt x="4" y="6"/>
                    <a:pt x="3" y="7"/>
                    <a:pt x="2" y="7"/>
                  </a:cubicBezTo>
                  <a:cubicBezTo>
                    <a:pt x="0" y="6"/>
                    <a:pt x="3" y="7"/>
                    <a:pt x="3" y="6"/>
                  </a:cubicBezTo>
                  <a:cubicBezTo>
                    <a:pt x="4" y="5"/>
                    <a:pt x="7" y="0"/>
                    <a:pt x="9"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2" name="Freeform 94"/>
            <p:cNvSpPr/>
            <p:nvPr/>
          </p:nvSpPr>
          <p:spPr bwMode="auto">
            <a:xfrm>
              <a:off x="6590063" y="2278782"/>
              <a:ext cx="22225" cy="25400"/>
            </a:xfrm>
            <a:custGeom>
              <a:avLst/>
              <a:gdLst>
                <a:gd name="T0" fmla="*/ 2 w 6"/>
                <a:gd name="T1" fmla="*/ 5 h 7"/>
                <a:gd name="T2" fmla="*/ 14 w 6"/>
                <a:gd name="T3" fmla="*/ 0 h 7"/>
                <a:gd name="T4" fmla="*/ 0 w 6"/>
                <a:gd name="T5" fmla="*/ 14 h 7"/>
                <a:gd name="T6" fmla="*/ 2 w 6"/>
                <a:gd name="T7" fmla="*/ 5 h 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7">
                  <a:moveTo>
                    <a:pt x="1" y="2"/>
                  </a:moveTo>
                  <a:cubicBezTo>
                    <a:pt x="2" y="0"/>
                    <a:pt x="3" y="2"/>
                    <a:pt x="6" y="0"/>
                  </a:cubicBezTo>
                  <a:cubicBezTo>
                    <a:pt x="5" y="3"/>
                    <a:pt x="4" y="7"/>
                    <a:pt x="0" y="6"/>
                  </a:cubicBezTo>
                  <a:cubicBezTo>
                    <a:pt x="0" y="5"/>
                    <a:pt x="5" y="3"/>
                    <a:pt x="1"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3" name="Freeform 95"/>
            <p:cNvSpPr/>
            <p:nvPr/>
          </p:nvSpPr>
          <p:spPr bwMode="auto">
            <a:xfrm>
              <a:off x="6031263" y="2975694"/>
              <a:ext cx="179388" cy="201612"/>
            </a:xfrm>
            <a:custGeom>
              <a:avLst/>
              <a:gdLst>
                <a:gd name="T0" fmla="*/ 89 w 48"/>
                <a:gd name="T1" fmla="*/ 7 h 54"/>
                <a:gd name="T2" fmla="*/ 101 w 48"/>
                <a:gd name="T3" fmla="*/ 12 h 54"/>
                <a:gd name="T4" fmla="*/ 113 w 48"/>
                <a:gd name="T5" fmla="*/ 21 h 54"/>
                <a:gd name="T6" fmla="*/ 101 w 48"/>
                <a:gd name="T7" fmla="*/ 35 h 54"/>
                <a:gd name="T8" fmla="*/ 99 w 48"/>
                <a:gd name="T9" fmla="*/ 52 h 54"/>
                <a:gd name="T10" fmla="*/ 104 w 48"/>
                <a:gd name="T11" fmla="*/ 56 h 54"/>
                <a:gd name="T12" fmla="*/ 104 w 48"/>
                <a:gd name="T13" fmla="*/ 64 h 54"/>
                <a:gd name="T14" fmla="*/ 108 w 48"/>
                <a:gd name="T15" fmla="*/ 71 h 54"/>
                <a:gd name="T16" fmla="*/ 97 w 48"/>
                <a:gd name="T17" fmla="*/ 78 h 54"/>
                <a:gd name="T18" fmla="*/ 92 w 48"/>
                <a:gd name="T19" fmla="*/ 92 h 54"/>
                <a:gd name="T20" fmla="*/ 92 w 48"/>
                <a:gd name="T21" fmla="*/ 99 h 54"/>
                <a:gd name="T22" fmla="*/ 87 w 48"/>
                <a:gd name="T23" fmla="*/ 99 h 54"/>
                <a:gd name="T24" fmla="*/ 78 w 48"/>
                <a:gd name="T25" fmla="*/ 108 h 54"/>
                <a:gd name="T26" fmla="*/ 78 w 48"/>
                <a:gd name="T27" fmla="*/ 125 h 54"/>
                <a:gd name="T28" fmla="*/ 52 w 48"/>
                <a:gd name="T29" fmla="*/ 118 h 54"/>
                <a:gd name="T30" fmla="*/ 49 w 48"/>
                <a:gd name="T31" fmla="*/ 122 h 54"/>
                <a:gd name="T32" fmla="*/ 40 w 48"/>
                <a:gd name="T33" fmla="*/ 118 h 54"/>
                <a:gd name="T34" fmla="*/ 26 w 48"/>
                <a:gd name="T35" fmla="*/ 118 h 54"/>
                <a:gd name="T36" fmla="*/ 19 w 48"/>
                <a:gd name="T37" fmla="*/ 115 h 54"/>
                <a:gd name="T38" fmla="*/ 7 w 48"/>
                <a:gd name="T39" fmla="*/ 99 h 54"/>
                <a:gd name="T40" fmla="*/ 9 w 48"/>
                <a:gd name="T41" fmla="*/ 87 h 54"/>
                <a:gd name="T42" fmla="*/ 7 w 48"/>
                <a:gd name="T43" fmla="*/ 87 h 54"/>
                <a:gd name="T44" fmla="*/ 5 w 48"/>
                <a:gd name="T45" fmla="*/ 64 h 54"/>
                <a:gd name="T46" fmla="*/ 31 w 48"/>
                <a:gd name="T47" fmla="*/ 61 h 54"/>
                <a:gd name="T48" fmla="*/ 31 w 48"/>
                <a:gd name="T49" fmla="*/ 54 h 54"/>
                <a:gd name="T50" fmla="*/ 52 w 48"/>
                <a:gd name="T51" fmla="*/ 40 h 54"/>
                <a:gd name="T52" fmla="*/ 68 w 48"/>
                <a:gd name="T53" fmla="*/ 35 h 54"/>
                <a:gd name="T54" fmla="*/ 71 w 48"/>
                <a:gd name="T55" fmla="*/ 26 h 54"/>
                <a:gd name="T56" fmla="*/ 75 w 48"/>
                <a:gd name="T57" fmla="*/ 26 h 54"/>
                <a:gd name="T58" fmla="*/ 82 w 48"/>
                <a:gd name="T59" fmla="*/ 21 h 54"/>
                <a:gd name="T60" fmla="*/ 92 w 48"/>
                <a:gd name="T61" fmla="*/ 7 h 54"/>
                <a:gd name="T62" fmla="*/ 89 w 48"/>
                <a:gd name="T63" fmla="*/ 7 h 5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 h="54">
                  <a:moveTo>
                    <a:pt x="38" y="3"/>
                  </a:moveTo>
                  <a:cubicBezTo>
                    <a:pt x="39" y="0"/>
                    <a:pt x="41" y="5"/>
                    <a:pt x="43" y="5"/>
                  </a:cubicBezTo>
                  <a:cubicBezTo>
                    <a:pt x="44" y="6"/>
                    <a:pt x="45" y="8"/>
                    <a:pt x="48" y="9"/>
                  </a:cubicBezTo>
                  <a:cubicBezTo>
                    <a:pt x="47" y="12"/>
                    <a:pt x="47" y="15"/>
                    <a:pt x="43" y="15"/>
                  </a:cubicBezTo>
                  <a:cubicBezTo>
                    <a:pt x="42" y="17"/>
                    <a:pt x="44" y="21"/>
                    <a:pt x="42" y="22"/>
                  </a:cubicBezTo>
                  <a:cubicBezTo>
                    <a:pt x="41" y="23"/>
                    <a:pt x="44" y="23"/>
                    <a:pt x="44" y="24"/>
                  </a:cubicBezTo>
                  <a:cubicBezTo>
                    <a:pt x="44" y="25"/>
                    <a:pt x="44" y="27"/>
                    <a:pt x="44" y="27"/>
                  </a:cubicBezTo>
                  <a:cubicBezTo>
                    <a:pt x="45" y="29"/>
                    <a:pt x="46" y="28"/>
                    <a:pt x="46" y="30"/>
                  </a:cubicBezTo>
                  <a:cubicBezTo>
                    <a:pt x="46" y="33"/>
                    <a:pt x="42" y="35"/>
                    <a:pt x="41" y="33"/>
                  </a:cubicBezTo>
                  <a:cubicBezTo>
                    <a:pt x="41" y="36"/>
                    <a:pt x="42" y="37"/>
                    <a:pt x="39" y="39"/>
                  </a:cubicBezTo>
                  <a:cubicBezTo>
                    <a:pt x="39" y="40"/>
                    <a:pt x="40" y="41"/>
                    <a:pt x="39" y="42"/>
                  </a:cubicBezTo>
                  <a:cubicBezTo>
                    <a:pt x="39" y="42"/>
                    <a:pt x="37" y="41"/>
                    <a:pt x="37" y="42"/>
                  </a:cubicBezTo>
                  <a:cubicBezTo>
                    <a:pt x="36" y="43"/>
                    <a:pt x="37" y="48"/>
                    <a:pt x="33" y="46"/>
                  </a:cubicBezTo>
                  <a:cubicBezTo>
                    <a:pt x="36" y="48"/>
                    <a:pt x="33" y="49"/>
                    <a:pt x="33" y="53"/>
                  </a:cubicBezTo>
                  <a:cubicBezTo>
                    <a:pt x="27" y="54"/>
                    <a:pt x="26" y="51"/>
                    <a:pt x="22" y="50"/>
                  </a:cubicBezTo>
                  <a:cubicBezTo>
                    <a:pt x="21" y="50"/>
                    <a:pt x="21" y="51"/>
                    <a:pt x="21" y="52"/>
                  </a:cubicBezTo>
                  <a:cubicBezTo>
                    <a:pt x="18" y="53"/>
                    <a:pt x="18" y="50"/>
                    <a:pt x="17" y="50"/>
                  </a:cubicBezTo>
                  <a:cubicBezTo>
                    <a:pt x="15" y="49"/>
                    <a:pt x="13" y="51"/>
                    <a:pt x="11" y="50"/>
                  </a:cubicBezTo>
                  <a:cubicBezTo>
                    <a:pt x="10" y="49"/>
                    <a:pt x="12" y="46"/>
                    <a:pt x="8" y="49"/>
                  </a:cubicBezTo>
                  <a:cubicBezTo>
                    <a:pt x="7" y="46"/>
                    <a:pt x="7" y="42"/>
                    <a:pt x="3" y="42"/>
                  </a:cubicBezTo>
                  <a:cubicBezTo>
                    <a:pt x="3" y="40"/>
                    <a:pt x="4" y="39"/>
                    <a:pt x="4" y="37"/>
                  </a:cubicBezTo>
                  <a:cubicBezTo>
                    <a:pt x="4" y="35"/>
                    <a:pt x="3" y="37"/>
                    <a:pt x="3" y="37"/>
                  </a:cubicBezTo>
                  <a:cubicBezTo>
                    <a:pt x="0" y="35"/>
                    <a:pt x="2" y="32"/>
                    <a:pt x="2" y="27"/>
                  </a:cubicBezTo>
                  <a:cubicBezTo>
                    <a:pt x="6" y="28"/>
                    <a:pt x="10" y="28"/>
                    <a:pt x="13" y="26"/>
                  </a:cubicBezTo>
                  <a:cubicBezTo>
                    <a:pt x="13" y="24"/>
                    <a:pt x="15" y="23"/>
                    <a:pt x="13" y="23"/>
                  </a:cubicBezTo>
                  <a:cubicBezTo>
                    <a:pt x="15" y="21"/>
                    <a:pt x="24" y="18"/>
                    <a:pt x="22" y="17"/>
                  </a:cubicBezTo>
                  <a:cubicBezTo>
                    <a:pt x="23" y="15"/>
                    <a:pt x="26" y="15"/>
                    <a:pt x="29" y="15"/>
                  </a:cubicBezTo>
                  <a:cubicBezTo>
                    <a:pt x="31" y="15"/>
                    <a:pt x="29" y="12"/>
                    <a:pt x="30" y="11"/>
                  </a:cubicBezTo>
                  <a:cubicBezTo>
                    <a:pt x="30" y="11"/>
                    <a:pt x="32" y="11"/>
                    <a:pt x="32" y="11"/>
                  </a:cubicBezTo>
                  <a:cubicBezTo>
                    <a:pt x="33" y="10"/>
                    <a:pt x="32" y="8"/>
                    <a:pt x="35" y="9"/>
                  </a:cubicBezTo>
                  <a:cubicBezTo>
                    <a:pt x="33" y="4"/>
                    <a:pt x="38" y="5"/>
                    <a:pt x="39" y="3"/>
                  </a:cubicBezTo>
                  <a:cubicBezTo>
                    <a:pt x="39" y="3"/>
                    <a:pt x="39" y="3"/>
                    <a:pt x="38"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4" name="Freeform 96"/>
            <p:cNvSpPr/>
            <p:nvPr/>
          </p:nvSpPr>
          <p:spPr bwMode="auto">
            <a:xfrm>
              <a:off x="6215413" y="3121744"/>
              <a:ext cx="77788" cy="90487"/>
            </a:xfrm>
            <a:custGeom>
              <a:avLst/>
              <a:gdLst>
                <a:gd name="T0" fmla="*/ 44 w 21"/>
                <a:gd name="T1" fmla="*/ 0 h 24"/>
                <a:gd name="T2" fmla="*/ 35 w 21"/>
                <a:gd name="T3" fmla="*/ 12 h 24"/>
                <a:gd name="T4" fmla="*/ 33 w 21"/>
                <a:gd name="T5" fmla="*/ 12 h 24"/>
                <a:gd name="T6" fmla="*/ 35 w 21"/>
                <a:gd name="T7" fmla="*/ 21 h 24"/>
                <a:gd name="T8" fmla="*/ 40 w 21"/>
                <a:gd name="T9" fmla="*/ 26 h 24"/>
                <a:gd name="T10" fmla="*/ 44 w 21"/>
                <a:gd name="T11" fmla="*/ 50 h 24"/>
                <a:gd name="T12" fmla="*/ 33 w 21"/>
                <a:gd name="T13" fmla="*/ 50 h 24"/>
                <a:gd name="T14" fmla="*/ 23 w 21"/>
                <a:gd name="T15" fmla="*/ 24 h 24"/>
                <a:gd name="T16" fmla="*/ 14 w 21"/>
                <a:gd name="T17" fmla="*/ 31 h 24"/>
                <a:gd name="T18" fmla="*/ 14 w 21"/>
                <a:gd name="T19" fmla="*/ 48 h 24"/>
                <a:gd name="T20" fmla="*/ 5 w 21"/>
                <a:gd name="T21" fmla="*/ 57 h 24"/>
                <a:gd name="T22" fmla="*/ 2 w 21"/>
                <a:gd name="T23" fmla="*/ 43 h 24"/>
                <a:gd name="T24" fmla="*/ 5 w 21"/>
                <a:gd name="T25" fmla="*/ 40 h 24"/>
                <a:gd name="T26" fmla="*/ 2 w 21"/>
                <a:gd name="T27" fmla="*/ 38 h 24"/>
                <a:gd name="T28" fmla="*/ 5 w 21"/>
                <a:gd name="T29" fmla="*/ 26 h 24"/>
                <a:gd name="T30" fmla="*/ 0 w 21"/>
                <a:gd name="T31" fmla="*/ 21 h 24"/>
                <a:gd name="T32" fmla="*/ 21 w 21"/>
                <a:gd name="T33" fmla="*/ 0 h 24"/>
                <a:gd name="T34" fmla="*/ 44 w 21"/>
                <a:gd name="T35" fmla="*/ 0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21" h="24">
                  <a:moveTo>
                    <a:pt x="19" y="0"/>
                  </a:moveTo>
                  <a:cubicBezTo>
                    <a:pt x="21" y="5"/>
                    <a:pt x="13" y="3"/>
                    <a:pt x="15" y="5"/>
                  </a:cubicBezTo>
                  <a:cubicBezTo>
                    <a:pt x="17" y="7"/>
                    <a:pt x="15" y="5"/>
                    <a:pt x="14" y="5"/>
                  </a:cubicBezTo>
                  <a:cubicBezTo>
                    <a:pt x="14" y="7"/>
                    <a:pt x="14" y="7"/>
                    <a:pt x="15" y="9"/>
                  </a:cubicBezTo>
                  <a:cubicBezTo>
                    <a:pt x="15" y="9"/>
                    <a:pt x="17" y="10"/>
                    <a:pt x="17" y="11"/>
                  </a:cubicBezTo>
                  <a:cubicBezTo>
                    <a:pt x="18" y="14"/>
                    <a:pt x="18" y="18"/>
                    <a:pt x="19" y="21"/>
                  </a:cubicBezTo>
                  <a:cubicBezTo>
                    <a:pt x="17" y="21"/>
                    <a:pt x="15" y="21"/>
                    <a:pt x="14" y="21"/>
                  </a:cubicBezTo>
                  <a:cubicBezTo>
                    <a:pt x="13" y="18"/>
                    <a:pt x="11" y="14"/>
                    <a:pt x="10" y="10"/>
                  </a:cubicBezTo>
                  <a:cubicBezTo>
                    <a:pt x="8" y="10"/>
                    <a:pt x="9" y="14"/>
                    <a:pt x="6" y="13"/>
                  </a:cubicBezTo>
                  <a:cubicBezTo>
                    <a:pt x="6" y="16"/>
                    <a:pt x="6" y="18"/>
                    <a:pt x="6" y="20"/>
                  </a:cubicBezTo>
                  <a:cubicBezTo>
                    <a:pt x="6" y="23"/>
                    <a:pt x="2" y="22"/>
                    <a:pt x="2" y="24"/>
                  </a:cubicBezTo>
                  <a:cubicBezTo>
                    <a:pt x="0" y="24"/>
                    <a:pt x="0" y="20"/>
                    <a:pt x="1" y="18"/>
                  </a:cubicBezTo>
                  <a:cubicBezTo>
                    <a:pt x="1" y="17"/>
                    <a:pt x="2" y="17"/>
                    <a:pt x="2" y="17"/>
                  </a:cubicBezTo>
                  <a:cubicBezTo>
                    <a:pt x="2" y="15"/>
                    <a:pt x="1" y="16"/>
                    <a:pt x="1" y="16"/>
                  </a:cubicBezTo>
                  <a:cubicBezTo>
                    <a:pt x="1" y="15"/>
                    <a:pt x="3" y="13"/>
                    <a:pt x="2" y="11"/>
                  </a:cubicBezTo>
                  <a:cubicBezTo>
                    <a:pt x="3" y="9"/>
                    <a:pt x="1" y="9"/>
                    <a:pt x="0" y="9"/>
                  </a:cubicBezTo>
                  <a:cubicBezTo>
                    <a:pt x="1" y="4"/>
                    <a:pt x="3" y="0"/>
                    <a:pt x="9" y="0"/>
                  </a:cubicBezTo>
                  <a:cubicBezTo>
                    <a:pt x="5" y="4"/>
                    <a:pt x="16" y="0"/>
                    <a:pt x="19"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5" name="Freeform 97"/>
            <p:cNvSpPr/>
            <p:nvPr/>
          </p:nvSpPr>
          <p:spPr bwMode="auto">
            <a:xfrm>
              <a:off x="5970938" y="3212232"/>
              <a:ext cx="187325" cy="52387"/>
            </a:xfrm>
            <a:custGeom>
              <a:avLst/>
              <a:gdLst>
                <a:gd name="T0" fmla="*/ 2 w 50"/>
                <a:gd name="T1" fmla="*/ 12 h 14"/>
                <a:gd name="T2" fmla="*/ 14 w 50"/>
                <a:gd name="T3" fmla="*/ 2 h 14"/>
                <a:gd name="T4" fmla="*/ 19 w 50"/>
                <a:gd name="T5" fmla="*/ 7 h 14"/>
                <a:gd name="T6" fmla="*/ 26 w 50"/>
                <a:gd name="T7" fmla="*/ 12 h 14"/>
                <a:gd name="T8" fmla="*/ 52 w 50"/>
                <a:gd name="T9" fmla="*/ 17 h 14"/>
                <a:gd name="T10" fmla="*/ 80 w 50"/>
                <a:gd name="T11" fmla="*/ 14 h 14"/>
                <a:gd name="T12" fmla="*/ 87 w 50"/>
                <a:gd name="T13" fmla="*/ 19 h 14"/>
                <a:gd name="T14" fmla="*/ 94 w 50"/>
                <a:gd name="T15" fmla="*/ 21 h 14"/>
                <a:gd name="T16" fmla="*/ 109 w 50"/>
                <a:gd name="T17" fmla="*/ 21 h 14"/>
                <a:gd name="T18" fmla="*/ 111 w 50"/>
                <a:gd name="T19" fmla="*/ 31 h 14"/>
                <a:gd name="T20" fmla="*/ 106 w 50"/>
                <a:gd name="T21" fmla="*/ 31 h 14"/>
                <a:gd name="T22" fmla="*/ 50 w 50"/>
                <a:gd name="T23" fmla="*/ 21 h 14"/>
                <a:gd name="T24" fmla="*/ 35 w 50"/>
                <a:gd name="T25" fmla="*/ 21 h 14"/>
                <a:gd name="T26" fmla="*/ 17 w 50"/>
                <a:gd name="T27" fmla="*/ 17 h 14"/>
                <a:gd name="T28" fmla="*/ 2 w 50"/>
                <a:gd name="T29" fmla="*/ 12 h 1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0" h="14">
                  <a:moveTo>
                    <a:pt x="1" y="5"/>
                  </a:moveTo>
                  <a:cubicBezTo>
                    <a:pt x="0" y="1"/>
                    <a:pt x="5" y="3"/>
                    <a:pt x="6" y="1"/>
                  </a:cubicBezTo>
                  <a:cubicBezTo>
                    <a:pt x="8" y="0"/>
                    <a:pt x="7" y="3"/>
                    <a:pt x="8" y="3"/>
                  </a:cubicBezTo>
                  <a:cubicBezTo>
                    <a:pt x="9" y="4"/>
                    <a:pt x="11" y="3"/>
                    <a:pt x="11" y="5"/>
                  </a:cubicBezTo>
                  <a:cubicBezTo>
                    <a:pt x="16" y="3"/>
                    <a:pt x="18" y="4"/>
                    <a:pt x="22" y="7"/>
                  </a:cubicBezTo>
                  <a:cubicBezTo>
                    <a:pt x="27" y="4"/>
                    <a:pt x="28" y="6"/>
                    <a:pt x="34" y="6"/>
                  </a:cubicBezTo>
                  <a:cubicBezTo>
                    <a:pt x="36" y="5"/>
                    <a:pt x="36" y="7"/>
                    <a:pt x="37" y="8"/>
                  </a:cubicBezTo>
                  <a:cubicBezTo>
                    <a:pt x="38" y="8"/>
                    <a:pt x="40" y="8"/>
                    <a:pt x="40" y="9"/>
                  </a:cubicBezTo>
                  <a:cubicBezTo>
                    <a:pt x="43" y="8"/>
                    <a:pt x="46" y="12"/>
                    <a:pt x="46" y="9"/>
                  </a:cubicBezTo>
                  <a:cubicBezTo>
                    <a:pt x="50" y="9"/>
                    <a:pt x="43" y="13"/>
                    <a:pt x="47" y="13"/>
                  </a:cubicBezTo>
                  <a:cubicBezTo>
                    <a:pt x="47" y="14"/>
                    <a:pt x="46" y="13"/>
                    <a:pt x="45" y="13"/>
                  </a:cubicBezTo>
                  <a:cubicBezTo>
                    <a:pt x="36" y="14"/>
                    <a:pt x="28" y="11"/>
                    <a:pt x="21" y="9"/>
                  </a:cubicBezTo>
                  <a:cubicBezTo>
                    <a:pt x="19" y="9"/>
                    <a:pt x="17" y="10"/>
                    <a:pt x="15" y="9"/>
                  </a:cubicBezTo>
                  <a:cubicBezTo>
                    <a:pt x="12" y="9"/>
                    <a:pt x="10" y="8"/>
                    <a:pt x="7" y="7"/>
                  </a:cubicBezTo>
                  <a:cubicBezTo>
                    <a:pt x="5" y="6"/>
                    <a:pt x="2" y="7"/>
                    <a:pt x="1" y="5"/>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6" name="Freeform 98"/>
            <p:cNvSpPr/>
            <p:nvPr/>
          </p:nvSpPr>
          <p:spPr bwMode="auto">
            <a:xfrm>
              <a:off x="6221763" y="3275732"/>
              <a:ext cx="26988" cy="11112"/>
            </a:xfrm>
            <a:custGeom>
              <a:avLst/>
              <a:gdLst>
                <a:gd name="T0" fmla="*/ 5 w 7"/>
                <a:gd name="T1" fmla="*/ 5 h 3"/>
                <a:gd name="T2" fmla="*/ 17 w 7"/>
                <a:gd name="T3" fmla="*/ 7 h 3"/>
                <a:gd name="T4" fmla="*/ 5 w 7"/>
                <a:gd name="T5" fmla="*/ 7 h 3"/>
                <a:gd name="T6" fmla="*/ 2 w 7"/>
                <a:gd name="T7" fmla="*/ 5 h 3"/>
                <a:gd name="T8" fmla="*/ 5 w 7"/>
                <a:gd name="T9" fmla="*/ 5 h 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
                  <a:moveTo>
                    <a:pt x="2" y="2"/>
                  </a:moveTo>
                  <a:cubicBezTo>
                    <a:pt x="4" y="2"/>
                    <a:pt x="7" y="1"/>
                    <a:pt x="7" y="3"/>
                  </a:cubicBezTo>
                  <a:cubicBezTo>
                    <a:pt x="6" y="3"/>
                    <a:pt x="4" y="3"/>
                    <a:pt x="2" y="3"/>
                  </a:cubicBezTo>
                  <a:cubicBezTo>
                    <a:pt x="3" y="2"/>
                    <a:pt x="2" y="2"/>
                    <a:pt x="1" y="2"/>
                  </a:cubicBezTo>
                  <a:cubicBezTo>
                    <a:pt x="0" y="0"/>
                    <a:pt x="2" y="0"/>
                    <a:pt x="2"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7" name="Freeform 99"/>
            <p:cNvSpPr/>
            <p:nvPr/>
          </p:nvSpPr>
          <p:spPr bwMode="auto">
            <a:xfrm>
              <a:off x="7063138" y="3882157"/>
              <a:ext cx="138113" cy="139700"/>
            </a:xfrm>
            <a:custGeom>
              <a:avLst/>
              <a:gdLst>
                <a:gd name="T0" fmla="*/ 2 w 37"/>
                <a:gd name="T1" fmla="*/ 76 h 37"/>
                <a:gd name="T2" fmla="*/ 7 w 37"/>
                <a:gd name="T3" fmla="*/ 64 h 37"/>
                <a:gd name="T4" fmla="*/ 14 w 37"/>
                <a:gd name="T5" fmla="*/ 62 h 37"/>
                <a:gd name="T6" fmla="*/ 14 w 37"/>
                <a:gd name="T7" fmla="*/ 55 h 37"/>
                <a:gd name="T8" fmla="*/ 19 w 37"/>
                <a:gd name="T9" fmla="*/ 55 h 37"/>
                <a:gd name="T10" fmla="*/ 21 w 37"/>
                <a:gd name="T11" fmla="*/ 50 h 37"/>
                <a:gd name="T12" fmla="*/ 33 w 37"/>
                <a:gd name="T13" fmla="*/ 48 h 37"/>
                <a:gd name="T14" fmla="*/ 38 w 37"/>
                <a:gd name="T15" fmla="*/ 40 h 37"/>
                <a:gd name="T16" fmla="*/ 45 w 37"/>
                <a:gd name="T17" fmla="*/ 33 h 37"/>
                <a:gd name="T18" fmla="*/ 49 w 37"/>
                <a:gd name="T19" fmla="*/ 29 h 37"/>
                <a:gd name="T20" fmla="*/ 59 w 37"/>
                <a:gd name="T21" fmla="*/ 31 h 37"/>
                <a:gd name="T22" fmla="*/ 54 w 37"/>
                <a:gd name="T23" fmla="*/ 19 h 37"/>
                <a:gd name="T24" fmla="*/ 66 w 37"/>
                <a:gd name="T25" fmla="*/ 5 h 37"/>
                <a:gd name="T26" fmla="*/ 75 w 37"/>
                <a:gd name="T27" fmla="*/ 0 h 37"/>
                <a:gd name="T28" fmla="*/ 82 w 37"/>
                <a:gd name="T29" fmla="*/ 5 h 37"/>
                <a:gd name="T30" fmla="*/ 85 w 37"/>
                <a:gd name="T31" fmla="*/ 19 h 37"/>
                <a:gd name="T32" fmla="*/ 82 w 37"/>
                <a:gd name="T33" fmla="*/ 29 h 37"/>
                <a:gd name="T34" fmla="*/ 78 w 37"/>
                <a:gd name="T35" fmla="*/ 29 h 37"/>
                <a:gd name="T36" fmla="*/ 75 w 37"/>
                <a:gd name="T37" fmla="*/ 40 h 37"/>
                <a:gd name="T38" fmla="*/ 63 w 37"/>
                <a:gd name="T39" fmla="*/ 45 h 37"/>
                <a:gd name="T40" fmla="*/ 54 w 37"/>
                <a:gd name="T41" fmla="*/ 64 h 37"/>
                <a:gd name="T42" fmla="*/ 49 w 37"/>
                <a:gd name="T43" fmla="*/ 76 h 37"/>
                <a:gd name="T44" fmla="*/ 45 w 37"/>
                <a:gd name="T45" fmla="*/ 81 h 37"/>
                <a:gd name="T46" fmla="*/ 21 w 37"/>
                <a:gd name="T47" fmla="*/ 71 h 37"/>
                <a:gd name="T48" fmla="*/ 12 w 37"/>
                <a:gd name="T49" fmla="*/ 76 h 37"/>
                <a:gd name="T50" fmla="*/ 7 w 37"/>
                <a:gd name="T51" fmla="*/ 69 h 37"/>
                <a:gd name="T52" fmla="*/ 2 w 37"/>
                <a:gd name="T53" fmla="*/ 76 h 3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37" h="37">
                  <a:moveTo>
                    <a:pt x="1" y="32"/>
                  </a:moveTo>
                  <a:cubicBezTo>
                    <a:pt x="0" y="30"/>
                    <a:pt x="2" y="28"/>
                    <a:pt x="3" y="27"/>
                  </a:cubicBezTo>
                  <a:cubicBezTo>
                    <a:pt x="4" y="26"/>
                    <a:pt x="6" y="26"/>
                    <a:pt x="6" y="26"/>
                  </a:cubicBezTo>
                  <a:cubicBezTo>
                    <a:pt x="6" y="25"/>
                    <a:pt x="5" y="24"/>
                    <a:pt x="6" y="23"/>
                  </a:cubicBezTo>
                  <a:cubicBezTo>
                    <a:pt x="6" y="23"/>
                    <a:pt x="8" y="24"/>
                    <a:pt x="8" y="23"/>
                  </a:cubicBezTo>
                  <a:cubicBezTo>
                    <a:pt x="8" y="23"/>
                    <a:pt x="9" y="21"/>
                    <a:pt x="9" y="21"/>
                  </a:cubicBezTo>
                  <a:cubicBezTo>
                    <a:pt x="11" y="20"/>
                    <a:pt x="13" y="21"/>
                    <a:pt x="14" y="20"/>
                  </a:cubicBezTo>
                  <a:cubicBezTo>
                    <a:pt x="15" y="18"/>
                    <a:pt x="14" y="18"/>
                    <a:pt x="16" y="17"/>
                  </a:cubicBezTo>
                  <a:cubicBezTo>
                    <a:pt x="19" y="17"/>
                    <a:pt x="18" y="15"/>
                    <a:pt x="19" y="14"/>
                  </a:cubicBezTo>
                  <a:cubicBezTo>
                    <a:pt x="19" y="14"/>
                    <a:pt x="22" y="17"/>
                    <a:pt x="21" y="12"/>
                  </a:cubicBezTo>
                  <a:cubicBezTo>
                    <a:pt x="23" y="11"/>
                    <a:pt x="23" y="13"/>
                    <a:pt x="25" y="13"/>
                  </a:cubicBezTo>
                  <a:cubicBezTo>
                    <a:pt x="25" y="11"/>
                    <a:pt x="23" y="10"/>
                    <a:pt x="23" y="8"/>
                  </a:cubicBezTo>
                  <a:cubicBezTo>
                    <a:pt x="28" y="9"/>
                    <a:pt x="27" y="4"/>
                    <a:pt x="28" y="2"/>
                  </a:cubicBezTo>
                  <a:cubicBezTo>
                    <a:pt x="29" y="1"/>
                    <a:pt x="32" y="2"/>
                    <a:pt x="32" y="0"/>
                  </a:cubicBezTo>
                  <a:cubicBezTo>
                    <a:pt x="33" y="1"/>
                    <a:pt x="33" y="2"/>
                    <a:pt x="35" y="2"/>
                  </a:cubicBezTo>
                  <a:cubicBezTo>
                    <a:pt x="34" y="5"/>
                    <a:pt x="37" y="5"/>
                    <a:pt x="36" y="8"/>
                  </a:cubicBezTo>
                  <a:cubicBezTo>
                    <a:pt x="35" y="8"/>
                    <a:pt x="36" y="10"/>
                    <a:pt x="35" y="12"/>
                  </a:cubicBezTo>
                  <a:cubicBezTo>
                    <a:pt x="35" y="12"/>
                    <a:pt x="33" y="11"/>
                    <a:pt x="33" y="12"/>
                  </a:cubicBezTo>
                  <a:cubicBezTo>
                    <a:pt x="32" y="12"/>
                    <a:pt x="32" y="15"/>
                    <a:pt x="32" y="17"/>
                  </a:cubicBezTo>
                  <a:cubicBezTo>
                    <a:pt x="29" y="19"/>
                    <a:pt x="29" y="17"/>
                    <a:pt x="27" y="19"/>
                  </a:cubicBezTo>
                  <a:cubicBezTo>
                    <a:pt x="24" y="20"/>
                    <a:pt x="25" y="24"/>
                    <a:pt x="23" y="27"/>
                  </a:cubicBezTo>
                  <a:cubicBezTo>
                    <a:pt x="23" y="28"/>
                    <a:pt x="20" y="28"/>
                    <a:pt x="21" y="32"/>
                  </a:cubicBezTo>
                  <a:cubicBezTo>
                    <a:pt x="19" y="31"/>
                    <a:pt x="19" y="32"/>
                    <a:pt x="19" y="34"/>
                  </a:cubicBezTo>
                  <a:cubicBezTo>
                    <a:pt x="16" y="31"/>
                    <a:pt x="10" y="37"/>
                    <a:pt x="9" y="30"/>
                  </a:cubicBezTo>
                  <a:cubicBezTo>
                    <a:pt x="8" y="31"/>
                    <a:pt x="6" y="32"/>
                    <a:pt x="5" y="32"/>
                  </a:cubicBezTo>
                  <a:cubicBezTo>
                    <a:pt x="4" y="32"/>
                    <a:pt x="3" y="29"/>
                    <a:pt x="3" y="29"/>
                  </a:cubicBezTo>
                  <a:cubicBezTo>
                    <a:pt x="1" y="29"/>
                    <a:pt x="6" y="34"/>
                    <a:pt x="1" y="3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8" name="Freeform 100"/>
            <p:cNvSpPr/>
            <p:nvPr/>
          </p:nvSpPr>
          <p:spPr bwMode="auto">
            <a:xfrm>
              <a:off x="9003889" y="1166662"/>
              <a:ext cx="195263" cy="142875"/>
            </a:xfrm>
            <a:custGeom>
              <a:avLst/>
              <a:gdLst>
                <a:gd name="T0" fmla="*/ 33 w 52"/>
                <a:gd name="T1" fmla="*/ 0 h 38"/>
                <a:gd name="T2" fmla="*/ 47 w 52"/>
                <a:gd name="T3" fmla="*/ 9 h 38"/>
                <a:gd name="T4" fmla="*/ 57 w 52"/>
                <a:gd name="T5" fmla="*/ 12 h 38"/>
                <a:gd name="T6" fmla="*/ 62 w 52"/>
                <a:gd name="T7" fmla="*/ 12 h 38"/>
                <a:gd name="T8" fmla="*/ 64 w 52"/>
                <a:gd name="T9" fmla="*/ 17 h 38"/>
                <a:gd name="T10" fmla="*/ 73 w 52"/>
                <a:gd name="T11" fmla="*/ 21 h 38"/>
                <a:gd name="T12" fmla="*/ 80 w 52"/>
                <a:gd name="T13" fmla="*/ 21 h 38"/>
                <a:gd name="T14" fmla="*/ 97 w 52"/>
                <a:gd name="T15" fmla="*/ 26 h 38"/>
                <a:gd name="T16" fmla="*/ 97 w 52"/>
                <a:gd name="T17" fmla="*/ 36 h 38"/>
                <a:gd name="T18" fmla="*/ 106 w 52"/>
                <a:gd name="T19" fmla="*/ 36 h 38"/>
                <a:gd name="T20" fmla="*/ 106 w 52"/>
                <a:gd name="T21" fmla="*/ 40 h 38"/>
                <a:gd name="T22" fmla="*/ 123 w 52"/>
                <a:gd name="T23" fmla="*/ 52 h 38"/>
                <a:gd name="T24" fmla="*/ 121 w 52"/>
                <a:gd name="T25" fmla="*/ 59 h 38"/>
                <a:gd name="T26" fmla="*/ 114 w 52"/>
                <a:gd name="T27" fmla="*/ 57 h 38"/>
                <a:gd name="T28" fmla="*/ 99 w 52"/>
                <a:gd name="T29" fmla="*/ 66 h 38"/>
                <a:gd name="T30" fmla="*/ 97 w 52"/>
                <a:gd name="T31" fmla="*/ 71 h 38"/>
                <a:gd name="T32" fmla="*/ 92 w 52"/>
                <a:gd name="T33" fmla="*/ 78 h 38"/>
                <a:gd name="T34" fmla="*/ 76 w 52"/>
                <a:gd name="T35" fmla="*/ 78 h 38"/>
                <a:gd name="T36" fmla="*/ 76 w 52"/>
                <a:gd name="T37" fmla="*/ 81 h 38"/>
                <a:gd name="T38" fmla="*/ 64 w 52"/>
                <a:gd name="T39" fmla="*/ 83 h 38"/>
                <a:gd name="T40" fmla="*/ 62 w 52"/>
                <a:gd name="T41" fmla="*/ 78 h 38"/>
                <a:gd name="T42" fmla="*/ 45 w 52"/>
                <a:gd name="T43" fmla="*/ 78 h 38"/>
                <a:gd name="T44" fmla="*/ 40 w 52"/>
                <a:gd name="T45" fmla="*/ 71 h 38"/>
                <a:gd name="T46" fmla="*/ 47 w 52"/>
                <a:gd name="T47" fmla="*/ 66 h 38"/>
                <a:gd name="T48" fmla="*/ 33 w 52"/>
                <a:gd name="T49" fmla="*/ 64 h 38"/>
                <a:gd name="T50" fmla="*/ 43 w 52"/>
                <a:gd name="T51" fmla="*/ 57 h 38"/>
                <a:gd name="T52" fmla="*/ 47 w 52"/>
                <a:gd name="T53" fmla="*/ 52 h 38"/>
                <a:gd name="T54" fmla="*/ 57 w 52"/>
                <a:gd name="T55" fmla="*/ 54 h 38"/>
                <a:gd name="T56" fmla="*/ 52 w 52"/>
                <a:gd name="T57" fmla="*/ 47 h 38"/>
                <a:gd name="T58" fmla="*/ 28 w 52"/>
                <a:gd name="T59" fmla="*/ 52 h 38"/>
                <a:gd name="T60" fmla="*/ 19 w 52"/>
                <a:gd name="T61" fmla="*/ 50 h 38"/>
                <a:gd name="T62" fmla="*/ 14 w 52"/>
                <a:gd name="T63" fmla="*/ 43 h 38"/>
                <a:gd name="T64" fmla="*/ 2 w 52"/>
                <a:gd name="T65" fmla="*/ 38 h 38"/>
                <a:gd name="T66" fmla="*/ 0 w 52"/>
                <a:gd name="T67" fmla="*/ 28 h 38"/>
                <a:gd name="T68" fmla="*/ 9 w 52"/>
                <a:gd name="T69" fmla="*/ 24 h 38"/>
                <a:gd name="T70" fmla="*/ 14 w 52"/>
                <a:gd name="T71" fmla="*/ 19 h 38"/>
                <a:gd name="T72" fmla="*/ 17 w 52"/>
                <a:gd name="T73" fmla="*/ 9 h 38"/>
                <a:gd name="T74" fmla="*/ 21 w 52"/>
                <a:gd name="T75" fmla="*/ 9 h 38"/>
                <a:gd name="T76" fmla="*/ 28 w 52"/>
                <a:gd name="T77" fmla="*/ 5 h 38"/>
                <a:gd name="T78" fmla="*/ 33 w 52"/>
                <a:gd name="T79" fmla="*/ 0 h 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52" h="38">
                  <a:moveTo>
                    <a:pt x="14" y="0"/>
                  </a:moveTo>
                  <a:cubicBezTo>
                    <a:pt x="16" y="1"/>
                    <a:pt x="19" y="2"/>
                    <a:pt x="20" y="4"/>
                  </a:cubicBezTo>
                  <a:cubicBezTo>
                    <a:pt x="22" y="3"/>
                    <a:pt x="23" y="5"/>
                    <a:pt x="24" y="5"/>
                  </a:cubicBezTo>
                  <a:cubicBezTo>
                    <a:pt x="24" y="6"/>
                    <a:pt x="26" y="5"/>
                    <a:pt x="26" y="5"/>
                  </a:cubicBezTo>
                  <a:cubicBezTo>
                    <a:pt x="26" y="6"/>
                    <a:pt x="26" y="7"/>
                    <a:pt x="27" y="7"/>
                  </a:cubicBezTo>
                  <a:cubicBezTo>
                    <a:pt x="29" y="5"/>
                    <a:pt x="28" y="8"/>
                    <a:pt x="31" y="9"/>
                  </a:cubicBezTo>
                  <a:cubicBezTo>
                    <a:pt x="32" y="9"/>
                    <a:pt x="33" y="9"/>
                    <a:pt x="34" y="9"/>
                  </a:cubicBezTo>
                  <a:cubicBezTo>
                    <a:pt x="35" y="9"/>
                    <a:pt x="37" y="13"/>
                    <a:pt x="41" y="11"/>
                  </a:cubicBezTo>
                  <a:cubicBezTo>
                    <a:pt x="41" y="12"/>
                    <a:pt x="41" y="14"/>
                    <a:pt x="41" y="15"/>
                  </a:cubicBezTo>
                  <a:cubicBezTo>
                    <a:pt x="42" y="15"/>
                    <a:pt x="44" y="14"/>
                    <a:pt x="45" y="15"/>
                  </a:cubicBezTo>
                  <a:cubicBezTo>
                    <a:pt x="45" y="15"/>
                    <a:pt x="44" y="17"/>
                    <a:pt x="45" y="17"/>
                  </a:cubicBezTo>
                  <a:cubicBezTo>
                    <a:pt x="47" y="19"/>
                    <a:pt x="49" y="20"/>
                    <a:pt x="52" y="22"/>
                  </a:cubicBezTo>
                  <a:cubicBezTo>
                    <a:pt x="52" y="23"/>
                    <a:pt x="51" y="25"/>
                    <a:pt x="51" y="25"/>
                  </a:cubicBezTo>
                  <a:cubicBezTo>
                    <a:pt x="50" y="26"/>
                    <a:pt x="48" y="24"/>
                    <a:pt x="48" y="24"/>
                  </a:cubicBezTo>
                  <a:cubicBezTo>
                    <a:pt x="46" y="25"/>
                    <a:pt x="45" y="27"/>
                    <a:pt x="42" y="28"/>
                  </a:cubicBezTo>
                  <a:cubicBezTo>
                    <a:pt x="41" y="28"/>
                    <a:pt x="42" y="29"/>
                    <a:pt x="41" y="30"/>
                  </a:cubicBezTo>
                  <a:cubicBezTo>
                    <a:pt x="39" y="30"/>
                    <a:pt x="39" y="31"/>
                    <a:pt x="39" y="33"/>
                  </a:cubicBezTo>
                  <a:cubicBezTo>
                    <a:pt x="35" y="33"/>
                    <a:pt x="34" y="30"/>
                    <a:pt x="32" y="33"/>
                  </a:cubicBezTo>
                  <a:cubicBezTo>
                    <a:pt x="31" y="33"/>
                    <a:pt x="31" y="34"/>
                    <a:pt x="32" y="34"/>
                  </a:cubicBezTo>
                  <a:cubicBezTo>
                    <a:pt x="32" y="38"/>
                    <a:pt x="27" y="31"/>
                    <a:pt x="27" y="35"/>
                  </a:cubicBezTo>
                  <a:cubicBezTo>
                    <a:pt x="26" y="35"/>
                    <a:pt x="26" y="33"/>
                    <a:pt x="26" y="33"/>
                  </a:cubicBezTo>
                  <a:cubicBezTo>
                    <a:pt x="24" y="35"/>
                    <a:pt x="23" y="32"/>
                    <a:pt x="19" y="33"/>
                  </a:cubicBezTo>
                  <a:cubicBezTo>
                    <a:pt x="19" y="30"/>
                    <a:pt x="18" y="30"/>
                    <a:pt x="17" y="30"/>
                  </a:cubicBezTo>
                  <a:cubicBezTo>
                    <a:pt x="17" y="28"/>
                    <a:pt x="20" y="30"/>
                    <a:pt x="20" y="28"/>
                  </a:cubicBezTo>
                  <a:cubicBezTo>
                    <a:pt x="20" y="25"/>
                    <a:pt x="16" y="27"/>
                    <a:pt x="14" y="27"/>
                  </a:cubicBezTo>
                  <a:cubicBezTo>
                    <a:pt x="13" y="24"/>
                    <a:pt x="16" y="25"/>
                    <a:pt x="18" y="24"/>
                  </a:cubicBezTo>
                  <a:cubicBezTo>
                    <a:pt x="18" y="24"/>
                    <a:pt x="20" y="22"/>
                    <a:pt x="20" y="22"/>
                  </a:cubicBezTo>
                  <a:cubicBezTo>
                    <a:pt x="21" y="22"/>
                    <a:pt x="22" y="24"/>
                    <a:pt x="24" y="23"/>
                  </a:cubicBezTo>
                  <a:cubicBezTo>
                    <a:pt x="24" y="21"/>
                    <a:pt x="23" y="21"/>
                    <a:pt x="22" y="20"/>
                  </a:cubicBezTo>
                  <a:cubicBezTo>
                    <a:pt x="21" y="20"/>
                    <a:pt x="14" y="20"/>
                    <a:pt x="12" y="22"/>
                  </a:cubicBezTo>
                  <a:cubicBezTo>
                    <a:pt x="10" y="24"/>
                    <a:pt x="12" y="22"/>
                    <a:pt x="8" y="21"/>
                  </a:cubicBezTo>
                  <a:cubicBezTo>
                    <a:pt x="5" y="20"/>
                    <a:pt x="2" y="21"/>
                    <a:pt x="6" y="18"/>
                  </a:cubicBezTo>
                  <a:cubicBezTo>
                    <a:pt x="6" y="16"/>
                    <a:pt x="2" y="18"/>
                    <a:pt x="1" y="16"/>
                  </a:cubicBezTo>
                  <a:cubicBezTo>
                    <a:pt x="3" y="14"/>
                    <a:pt x="5" y="10"/>
                    <a:pt x="0" y="12"/>
                  </a:cubicBezTo>
                  <a:cubicBezTo>
                    <a:pt x="1" y="11"/>
                    <a:pt x="2" y="10"/>
                    <a:pt x="4" y="10"/>
                  </a:cubicBezTo>
                  <a:cubicBezTo>
                    <a:pt x="5" y="10"/>
                    <a:pt x="4" y="8"/>
                    <a:pt x="6" y="8"/>
                  </a:cubicBezTo>
                  <a:cubicBezTo>
                    <a:pt x="8" y="8"/>
                    <a:pt x="6" y="5"/>
                    <a:pt x="7" y="4"/>
                  </a:cubicBezTo>
                  <a:cubicBezTo>
                    <a:pt x="7" y="4"/>
                    <a:pt x="9" y="4"/>
                    <a:pt x="9" y="4"/>
                  </a:cubicBezTo>
                  <a:cubicBezTo>
                    <a:pt x="11" y="4"/>
                    <a:pt x="10" y="2"/>
                    <a:pt x="12" y="2"/>
                  </a:cubicBezTo>
                  <a:cubicBezTo>
                    <a:pt x="12" y="1"/>
                    <a:pt x="14" y="1"/>
                    <a:pt x="14"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99" name="Freeform 101"/>
            <p:cNvSpPr/>
            <p:nvPr/>
          </p:nvSpPr>
          <p:spPr bwMode="auto">
            <a:xfrm>
              <a:off x="4264375" y="1216744"/>
              <a:ext cx="258763" cy="127000"/>
            </a:xfrm>
            <a:custGeom>
              <a:avLst/>
              <a:gdLst>
                <a:gd name="T0" fmla="*/ 57 w 69"/>
                <a:gd name="T1" fmla="*/ 54 h 34"/>
                <a:gd name="T2" fmla="*/ 52 w 69"/>
                <a:gd name="T3" fmla="*/ 56 h 34"/>
                <a:gd name="T4" fmla="*/ 38 w 69"/>
                <a:gd name="T5" fmla="*/ 54 h 34"/>
                <a:gd name="T6" fmla="*/ 45 w 69"/>
                <a:gd name="T7" fmla="*/ 49 h 34"/>
                <a:gd name="T8" fmla="*/ 61 w 69"/>
                <a:gd name="T9" fmla="*/ 38 h 34"/>
                <a:gd name="T10" fmla="*/ 57 w 69"/>
                <a:gd name="T11" fmla="*/ 31 h 34"/>
                <a:gd name="T12" fmla="*/ 43 w 69"/>
                <a:gd name="T13" fmla="*/ 31 h 34"/>
                <a:gd name="T14" fmla="*/ 28 w 69"/>
                <a:gd name="T15" fmla="*/ 40 h 34"/>
                <a:gd name="T16" fmla="*/ 9 w 69"/>
                <a:gd name="T17" fmla="*/ 38 h 34"/>
                <a:gd name="T18" fmla="*/ 12 w 69"/>
                <a:gd name="T19" fmla="*/ 19 h 34"/>
                <a:gd name="T20" fmla="*/ 7 w 69"/>
                <a:gd name="T21" fmla="*/ 21 h 34"/>
                <a:gd name="T22" fmla="*/ 5 w 69"/>
                <a:gd name="T23" fmla="*/ 7 h 34"/>
                <a:gd name="T24" fmla="*/ 9 w 69"/>
                <a:gd name="T25" fmla="*/ 9 h 34"/>
                <a:gd name="T26" fmla="*/ 26 w 69"/>
                <a:gd name="T27" fmla="*/ 5 h 34"/>
                <a:gd name="T28" fmla="*/ 28 w 69"/>
                <a:gd name="T29" fmla="*/ 14 h 34"/>
                <a:gd name="T30" fmla="*/ 52 w 69"/>
                <a:gd name="T31" fmla="*/ 16 h 34"/>
                <a:gd name="T32" fmla="*/ 59 w 69"/>
                <a:gd name="T33" fmla="*/ 5 h 34"/>
                <a:gd name="T34" fmla="*/ 87 w 69"/>
                <a:gd name="T35" fmla="*/ 7 h 34"/>
                <a:gd name="T36" fmla="*/ 90 w 69"/>
                <a:gd name="T37" fmla="*/ 7 h 34"/>
                <a:gd name="T38" fmla="*/ 102 w 69"/>
                <a:gd name="T39" fmla="*/ 16 h 34"/>
                <a:gd name="T40" fmla="*/ 99 w 69"/>
                <a:gd name="T41" fmla="*/ 21 h 34"/>
                <a:gd name="T42" fmla="*/ 113 w 69"/>
                <a:gd name="T43" fmla="*/ 19 h 34"/>
                <a:gd name="T44" fmla="*/ 130 w 69"/>
                <a:gd name="T45" fmla="*/ 24 h 34"/>
                <a:gd name="T46" fmla="*/ 132 w 69"/>
                <a:gd name="T47" fmla="*/ 31 h 34"/>
                <a:gd name="T48" fmla="*/ 135 w 69"/>
                <a:gd name="T49" fmla="*/ 33 h 34"/>
                <a:gd name="T50" fmla="*/ 137 w 69"/>
                <a:gd name="T51" fmla="*/ 38 h 34"/>
                <a:gd name="T52" fmla="*/ 144 w 69"/>
                <a:gd name="T53" fmla="*/ 38 h 34"/>
                <a:gd name="T54" fmla="*/ 144 w 69"/>
                <a:gd name="T55" fmla="*/ 45 h 34"/>
                <a:gd name="T56" fmla="*/ 149 w 69"/>
                <a:gd name="T57" fmla="*/ 45 h 34"/>
                <a:gd name="T58" fmla="*/ 151 w 69"/>
                <a:gd name="T59" fmla="*/ 52 h 34"/>
                <a:gd name="T60" fmla="*/ 161 w 69"/>
                <a:gd name="T61" fmla="*/ 52 h 34"/>
                <a:gd name="T62" fmla="*/ 151 w 69"/>
                <a:gd name="T63" fmla="*/ 56 h 34"/>
                <a:gd name="T64" fmla="*/ 151 w 69"/>
                <a:gd name="T65" fmla="*/ 61 h 34"/>
                <a:gd name="T66" fmla="*/ 123 w 69"/>
                <a:gd name="T67" fmla="*/ 61 h 34"/>
                <a:gd name="T68" fmla="*/ 123 w 69"/>
                <a:gd name="T69" fmla="*/ 45 h 34"/>
                <a:gd name="T70" fmla="*/ 97 w 69"/>
                <a:gd name="T71" fmla="*/ 40 h 34"/>
                <a:gd name="T72" fmla="*/ 92 w 69"/>
                <a:gd name="T73" fmla="*/ 49 h 34"/>
                <a:gd name="T74" fmla="*/ 87 w 69"/>
                <a:gd name="T75" fmla="*/ 49 h 34"/>
                <a:gd name="T76" fmla="*/ 83 w 69"/>
                <a:gd name="T77" fmla="*/ 54 h 34"/>
                <a:gd name="T78" fmla="*/ 85 w 69"/>
                <a:gd name="T79" fmla="*/ 56 h 34"/>
                <a:gd name="T80" fmla="*/ 76 w 69"/>
                <a:gd name="T81" fmla="*/ 61 h 34"/>
                <a:gd name="T82" fmla="*/ 76 w 69"/>
                <a:gd name="T83" fmla="*/ 78 h 34"/>
                <a:gd name="T84" fmla="*/ 40 w 69"/>
                <a:gd name="T85" fmla="*/ 66 h 34"/>
                <a:gd name="T86" fmla="*/ 50 w 69"/>
                <a:gd name="T87" fmla="*/ 61 h 34"/>
                <a:gd name="T88" fmla="*/ 59 w 69"/>
                <a:gd name="T89" fmla="*/ 61 h 34"/>
                <a:gd name="T90" fmla="*/ 57 w 69"/>
                <a:gd name="T91" fmla="*/ 54 h 3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69" h="34">
                  <a:moveTo>
                    <a:pt x="24" y="23"/>
                  </a:moveTo>
                  <a:cubicBezTo>
                    <a:pt x="24" y="21"/>
                    <a:pt x="22" y="24"/>
                    <a:pt x="22" y="24"/>
                  </a:cubicBezTo>
                  <a:cubicBezTo>
                    <a:pt x="20" y="25"/>
                    <a:pt x="19" y="22"/>
                    <a:pt x="16" y="23"/>
                  </a:cubicBezTo>
                  <a:cubicBezTo>
                    <a:pt x="16" y="21"/>
                    <a:pt x="18" y="22"/>
                    <a:pt x="19" y="21"/>
                  </a:cubicBezTo>
                  <a:cubicBezTo>
                    <a:pt x="22" y="19"/>
                    <a:pt x="23" y="16"/>
                    <a:pt x="26" y="16"/>
                  </a:cubicBezTo>
                  <a:cubicBezTo>
                    <a:pt x="26" y="15"/>
                    <a:pt x="24" y="15"/>
                    <a:pt x="24" y="13"/>
                  </a:cubicBezTo>
                  <a:cubicBezTo>
                    <a:pt x="22" y="12"/>
                    <a:pt x="19" y="16"/>
                    <a:pt x="18" y="13"/>
                  </a:cubicBezTo>
                  <a:cubicBezTo>
                    <a:pt x="16" y="14"/>
                    <a:pt x="15" y="16"/>
                    <a:pt x="12" y="17"/>
                  </a:cubicBezTo>
                  <a:cubicBezTo>
                    <a:pt x="9" y="18"/>
                    <a:pt x="8" y="15"/>
                    <a:pt x="4" y="16"/>
                  </a:cubicBezTo>
                  <a:cubicBezTo>
                    <a:pt x="6" y="14"/>
                    <a:pt x="7" y="11"/>
                    <a:pt x="5" y="8"/>
                  </a:cubicBezTo>
                  <a:cubicBezTo>
                    <a:pt x="4" y="8"/>
                    <a:pt x="3" y="8"/>
                    <a:pt x="3" y="9"/>
                  </a:cubicBezTo>
                  <a:cubicBezTo>
                    <a:pt x="0" y="9"/>
                    <a:pt x="2" y="5"/>
                    <a:pt x="2" y="3"/>
                  </a:cubicBezTo>
                  <a:cubicBezTo>
                    <a:pt x="3" y="3"/>
                    <a:pt x="4" y="3"/>
                    <a:pt x="4" y="4"/>
                  </a:cubicBezTo>
                  <a:cubicBezTo>
                    <a:pt x="5" y="2"/>
                    <a:pt x="11" y="5"/>
                    <a:pt x="11" y="2"/>
                  </a:cubicBezTo>
                  <a:cubicBezTo>
                    <a:pt x="13" y="2"/>
                    <a:pt x="12" y="4"/>
                    <a:pt x="12" y="6"/>
                  </a:cubicBezTo>
                  <a:cubicBezTo>
                    <a:pt x="17" y="6"/>
                    <a:pt x="21" y="0"/>
                    <a:pt x="22" y="7"/>
                  </a:cubicBezTo>
                  <a:cubicBezTo>
                    <a:pt x="25" y="7"/>
                    <a:pt x="26" y="5"/>
                    <a:pt x="25" y="2"/>
                  </a:cubicBezTo>
                  <a:cubicBezTo>
                    <a:pt x="28" y="3"/>
                    <a:pt x="32" y="3"/>
                    <a:pt x="37" y="3"/>
                  </a:cubicBezTo>
                  <a:cubicBezTo>
                    <a:pt x="37" y="3"/>
                    <a:pt x="38" y="5"/>
                    <a:pt x="38" y="3"/>
                  </a:cubicBezTo>
                  <a:cubicBezTo>
                    <a:pt x="41" y="4"/>
                    <a:pt x="38" y="9"/>
                    <a:pt x="43" y="7"/>
                  </a:cubicBezTo>
                  <a:cubicBezTo>
                    <a:pt x="43" y="8"/>
                    <a:pt x="42" y="8"/>
                    <a:pt x="42" y="9"/>
                  </a:cubicBezTo>
                  <a:cubicBezTo>
                    <a:pt x="43" y="8"/>
                    <a:pt x="48" y="10"/>
                    <a:pt x="48" y="8"/>
                  </a:cubicBezTo>
                  <a:cubicBezTo>
                    <a:pt x="49" y="9"/>
                    <a:pt x="50" y="11"/>
                    <a:pt x="55" y="10"/>
                  </a:cubicBezTo>
                  <a:cubicBezTo>
                    <a:pt x="53" y="12"/>
                    <a:pt x="54" y="12"/>
                    <a:pt x="56" y="13"/>
                  </a:cubicBezTo>
                  <a:cubicBezTo>
                    <a:pt x="56" y="13"/>
                    <a:pt x="56" y="14"/>
                    <a:pt x="57" y="14"/>
                  </a:cubicBezTo>
                  <a:cubicBezTo>
                    <a:pt x="59" y="14"/>
                    <a:pt x="57" y="15"/>
                    <a:pt x="58" y="16"/>
                  </a:cubicBezTo>
                  <a:cubicBezTo>
                    <a:pt x="59" y="17"/>
                    <a:pt x="60" y="16"/>
                    <a:pt x="61" y="16"/>
                  </a:cubicBezTo>
                  <a:cubicBezTo>
                    <a:pt x="61" y="17"/>
                    <a:pt x="60" y="18"/>
                    <a:pt x="61" y="19"/>
                  </a:cubicBezTo>
                  <a:cubicBezTo>
                    <a:pt x="61" y="19"/>
                    <a:pt x="63" y="18"/>
                    <a:pt x="63" y="19"/>
                  </a:cubicBezTo>
                  <a:cubicBezTo>
                    <a:pt x="64" y="20"/>
                    <a:pt x="63" y="21"/>
                    <a:pt x="64" y="22"/>
                  </a:cubicBezTo>
                  <a:cubicBezTo>
                    <a:pt x="66" y="22"/>
                    <a:pt x="67" y="20"/>
                    <a:pt x="68" y="22"/>
                  </a:cubicBezTo>
                  <a:cubicBezTo>
                    <a:pt x="69" y="25"/>
                    <a:pt x="65" y="23"/>
                    <a:pt x="64" y="24"/>
                  </a:cubicBezTo>
                  <a:cubicBezTo>
                    <a:pt x="64" y="24"/>
                    <a:pt x="64" y="26"/>
                    <a:pt x="64" y="26"/>
                  </a:cubicBezTo>
                  <a:cubicBezTo>
                    <a:pt x="61" y="26"/>
                    <a:pt x="56" y="25"/>
                    <a:pt x="52" y="26"/>
                  </a:cubicBezTo>
                  <a:cubicBezTo>
                    <a:pt x="51" y="22"/>
                    <a:pt x="52" y="23"/>
                    <a:pt x="52" y="19"/>
                  </a:cubicBezTo>
                  <a:cubicBezTo>
                    <a:pt x="51" y="15"/>
                    <a:pt x="43" y="15"/>
                    <a:pt x="41" y="17"/>
                  </a:cubicBezTo>
                  <a:cubicBezTo>
                    <a:pt x="39" y="17"/>
                    <a:pt x="40" y="20"/>
                    <a:pt x="39" y="21"/>
                  </a:cubicBezTo>
                  <a:cubicBezTo>
                    <a:pt x="39" y="21"/>
                    <a:pt x="37" y="20"/>
                    <a:pt x="37" y="21"/>
                  </a:cubicBezTo>
                  <a:cubicBezTo>
                    <a:pt x="36" y="22"/>
                    <a:pt x="37" y="24"/>
                    <a:pt x="35" y="23"/>
                  </a:cubicBezTo>
                  <a:cubicBezTo>
                    <a:pt x="34" y="24"/>
                    <a:pt x="35" y="24"/>
                    <a:pt x="36" y="24"/>
                  </a:cubicBezTo>
                  <a:cubicBezTo>
                    <a:pt x="36" y="26"/>
                    <a:pt x="34" y="25"/>
                    <a:pt x="32" y="26"/>
                  </a:cubicBezTo>
                  <a:cubicBezTo>
                    <a:pt x="31" y="29"/>
                    <a:pt x="32" y="28"/>
                    <a:pt x="32" y="33"/>
                  </a:cubicBezTo>
                  <a:cubicBezTo>
                    <a:pt x="28" y="34"/>
                    <a:pt x="18" y="34"/>
                    <a:pt x="17" y="28"/>
                  </a:cubicBezTo>
                  <a:cubicBezTo>
                    <a:pt x="19" y="28"/>
                    <a:pt x="20" y="27"/>
                    <a:pt x="21" y="26"/>
                  </a:cubicBezTo>
                  <a:cubicBezTo>
                    <a:pt x="24" y="25"/>
                    <a:pt x="23" y="28"/>
                    <a:pt x="25" y="26"/>
                  </a:cubicBezTo>
                  <a:cubicBezTo>
                    <a:pt x="25" y="24"/>
                    <a:pt x="22" y="24"/>
                    <a:pt x="24" y="2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0" name="Freeform 102"/>
            <p:cNvSpPr/>
            <p:nvPr/>
          </p:nvSpPr>
          <p:spPr bwMode="auto">
            <a:xfrm>
              <a:off x="8530814" y="1317474"/>
              <a:ext cx="120650" cy="66675"/>
            </a:xfrm>
            <a:custGeom>
              <a:avLst/>
              <a:gdLst>
                <a:gd name="T0" fmla="*/ 76 w 32"/>
                <a:gd name="T1" fmla="*/ 7 h 18"/>
                <a:gd name="T2" fmla="*/ 76 w 32"/>
                <a:gd name="T3" fmla="*/ 16 h 18"/>
                <a:gd name="T4" fmla="*/ 71 w 32"/>
                <a:gd name="T5" fmla="*/ 16 h 18"/>
                <a:gd name="T6" fmla="*/ 71 w 32"/>
                <a:gd name="T7" fmla="*/ 23 h 18"/>
                <a:gd name="T8" fmla="*/ 62 w 32"/>
                <a:gd name="T9" fmla="*/ 30 h 18"/>
                <a:gd name="T10" fmla="*/ 52 w 32"/>
                <a:gd name="T11" fmla="*/ 21 h 18"/>
                <a:gd name="T12" fmla="*/ 45 w 32"/>
                <a:gd name="T13" fmla="*/ 26 h 18"/>
                <a:gd name="T14" fmla="*/ 33 w 32"/>
                <a:gd name="T15" fmla="*/ 37 h 18"/>
                <a:gd name="T16" fmla="*/ 2 w 32"/>
                <a:gd name="T17" fmla="*/ 37 h 18"/>
                <a:gd name="T18" fmla="*/ 0 w 32"/>
                <a:gd name="T19" fmla="*/ 26 h 18"/>
                <a:gd name="T20" fmla="*/ 12 w 32"/>
                <a:gd name="T21" fmla="*/ 30 h 18"/>
                <a:gd name="T22" fmla="*/ 24 w 32"/>
                <a:gd name="T23" fmla="*/ 21 h 18"/>
                <a:gd name="T24" fmla="*/ 29 w 32"/>
                <a:gd name="T25" fmla="*/ 16 h 18"/>
                <a:gd name="T26" fmla="*/ 36 w 32"/>
                <a:gd name="T27" fmla="*/ 12 h 18"/>
                <a:gd name="T28" fmla="*/ 40 w 32"/>
                <a:gd name="T29" fmla="*/ 12 h 18"/>
                <a:gd name="T30" fmla="*/ 45 w 32"/>
                <a:gd name="T31" fmla="*/ 7 h 18"/>
                <a:gd name="T32" fmla="*/ 57 w 32"/>
                <a:gd name="T33" fmla="*/ 7 h 18"/>
                <a:gd name="T34" fmla="*/ 76 w 32"/>
                <a:gd name="T35" fmla="*/ 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18">
                  <a:moveTo>
                    <a:pt x="32" y="3"/>
                  </a:moveTo>
                  <a:cubicBezTo>
                    <a:pt x="31" y="4"/>
                    <a:pt x="32" y="6"/>
                    <a:pt x="32" y="7"/>
                  </a:cubicBezTo>
                  <a:cubicBezTo>
                    <a:pt x="32" y="7"/>
                    <a:pt x="30" y="6"/>
                    <a:pt x="30" y="7"/>
                  </a:cubicBezTo>
                  <a:cubicBezTo>
                    <a:pt x="30" y="7"/>
                    <a:pt x="31" y="10"/>
                    <a:pt x="30" y="10"/>
                  </a:cubicBezTo>
                  <a:cubicBezTo>
                    <a:pt x="28" y="10"/>
                    <a:pt x="27" y="8"/>
                    <a:pt x="26" y="13"/>
                  </a:cubicBezTo>
                  <a:cubicBezTo>
                    <a:pt x="24" y="12"/>
                    <a:pt x="25" y="9"/>
                    <a:pt x="22" y="9"/>
                  </a:cubicBezTo>
                  <a:cubicBezTo>
                    <a:pt x="20" y="8"/>
                    <a:pt x="21" y="11"/>
                    <a:pt x="19" y="11"/>
                  </a:cubicBezTo>
                  <a:cubicBezTo>
                    <a:pt x="18" y="13"/>
                    <a:pt x="14" y="13"/>
                    <a:pt x="14" y="16"/>
                  </a:cubicBezTo>
                  <a:cubicBezTo>
                    <a:pt x="9" y="18"/>
                    <a:pt x="7" y="17"/>
                    <a:pt x="1" y="16"/>
                  </a:cubicBezTo>
                  <a:cubicBezTo>
                    <a:pt x="1" y="14"/>
                    <a:pt x="0" y="14"/>
                    <a:pt x="0" y="11"/>
                  </a:cubicBezTo>
                  <a:cubicBezTo>
                    <a:pt x="1" y="12"/>
                    <a:pt x="3" y="13"/>
                    <a:pt x="5" y="13"/>
                  </a:cubicBezTo>
                  <a:cubicBezTo>
                    <a:pt x="7" y="13"/>
                    <a:pt x="7" y="9"/>
                    <a:pt x="10" y="9"/>
                  </a:cubicBezTo>
                  <a:cubicBezTo>
                    <a:pt x="10" y="9"/>
                    <a:pt x="11" y="6"/>
                    <a:pt x="12" y="7"/>
                  </a:cubicBezTo>
                  <a:cubicBezTo>
                    <a:pt x="14" y="9"/>
                    <a:pt x="12" y="6"/>
                    <a:pt x="15" y="5"/>
                  </a:cubicBezTo>
                  <a:cubicBezTo>
                    <a:pt x="16" y="5"/>
                    <a:pt x="16" y="6"/>
                    <a:pt x="17" y="5"/>
                  </a:cubicBezTo>
                  <a:cubicBezTo>
                    <a:pt x="17" y="5"/>
                    <a:pt x="19" y="3"/>
                    <a:pt x="19" y="3"/>
                  </a:cubicBezTo>
                  <a:cubicBezTo>
                    <a:pt x="20" y="3"/>
                    <a:pt x="22" y="3"/>
                    <a:pt x="24" y="3"/>
                  </a:cubicBezTo>
                  <a:cubicBezTo>
                    <a:pt x="25" y="3"/>
                    <a:pt x="29" y="0"/>
                    <a:pt x="32" y="3"/>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1" name="Freeform 103"/>
            <p:cNvSpPr/>
            <p:nvPr/>
          </p:nvSpPr>
          <p:spPr bwMode="auto">
            <a:xfrm>
              <a:off x="8861014" y="1342874"/>
              <a:ext cx="123825" cy="63500"/>
            </a:xfrm>
            <a:custGeom>
              <a:avLst/>
              <a:gdLst>
                <a:gd name="T0" fmla="*/ 71 w 33"/>
                <a:gd name="T1" fmla="*/ 5 h 17"/>
                <a:gd name="T2" fmla="*/ 78 w 33"/>
                <a:gd name="T3" fmla="*/ 31 h 17"/>
                <a:gd name="T4" fmla="*/ 73 w 33"/>
                <a:gd name="T5" fmla="*/ 26 h 17"/>
                <a:gd name="T6" fmla="*/ 73 w 33"/>
                <a:gd name="T7" fmla="*/ 35 h 17"/>
                <a:gd name="T8" fmla="*/ 61 w 33"/>
                <a:gd name="T9" fmla="*/ 38 h 17"/>
                <a:gd name="T10" fmla="*/ 59 w 33"/>
                <a:gd name="T11" fmla="*/ 40 h 17"/>
                <a:gd name="T12" fmla="*/ 52 w 33"/>
                <a:gd name="T13" fmla="*/ 40 h 17"/>
                <a:gd name="T14" fmla="*/ 52 w 33"/>
                <a:gd name="T15" fmla="*/ 31 h 17"/>
                <a:gd name="T16" fmla="*/ 24 w 33"/>
                <a:gd name="T17" fmla="*/ 26 h 17"/>
                <a:gd name="T18" fmla="*/ 0 w 33"/>
                <a:gd name="T19" fmla="*/ 14 h 17"/>
                <a:gd name="T20" fmla="*/ 5 w 33"/>
                <a:gd name="T21" fmla="*/ 7 h 17"/>
                <a:gd name="T22" fmla="*/ 9 w 33"/>
                <a:gd name="T23" fmla="*/ 9 h 17"/>
                <a:gd name="T24" fmla="*/ 24 w 33"/>
                <a:gd name="T25" fmla="*/ 16 h 17"/>
                <a:gd name="T26" fmla="*/ 28 w 33"/>
                <a:gd name="T27" fmla="*/ 16 h 17"/>
                <a:gd name="T28" fmla="*/ 31 w 33"/>
                <a:gd name="T29" fmla="*/ 21 h 17"/>
                <a:gd name="T30" fmla="*/ 35 w 33"/>
                <a:gd name="T31" fmla="*/ 9 h 17"/>
                <a:gd name="T32" fmla="*/ 40 w 33"/>
                <a:gd name="T33" fmla="*/ 16 h 17"/>
                <a:gd name="T34" fmla="*/ 71 w 33"/>
                <a:gd name="T35" fmla="*/ 5 h 1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17">
                  <a:moveTo>
                    <a:pt x="30" y="2"/>
                  </a:moveTo>
                  <a:cubicBezTo>
                    <a:pt x="28" y="8"/>
                    <a:pt x="33" y="8"/>
                    <a:pt x="33" y="13"/>
                  </a:cubicBezTo>
                  <a:cubicBezTo>
                    <a:pt x="33" y="13"/>
                    <a:pt x="32" y="11"/>
                    <a:pt x="31" y="11"/>
                  </a:cubicBezTo>
                  <a:cubicBezTo>
                    <a:pt x="30" y="12"/>
                    <a:pt x="32" y="14"/>
                    <a:pt x="31" y="15"/>
                  </a:cubicBezTo>
                  <a:cubicBezTo>
                    <a:pt x="30" y="16"/>
                    <a:pt x="28" y="16"/>
                    <a:pt x="26" y="16"/>
                  </a:cubicBezTo>
                  <a:cubicBezTo>
                    <a:pt x="26" y="16"/>
                    <a:pt x="26" y="17"/>
                    <a:pt x="25" y="17"/>
                  </a:cubicBezTo>
                  <a:cubicBezTo>
                    <a:pt x="24" y="17"/>
                    <a:pt x="23" y="17"/>
                    <a:pt x="22" y="17"/>
                  </a:cubicBezTo>
                  <a:cubicBezTo>
                    <a:pt x="20" y="16"/>
                    <a:pt x="20" y="14"/>
                    <a:pt x="22" y="13"/>
                  </a:cubicBezTo>
                  <a:cubicBezTo>
                    <a:pt x="18" y="15"/>
                    <a:pt x="15" y="11"/>
                    <a:pt x="10" y="11"/>
                  </a:cubicBezTo>
                  <a:cubicBezTo>
                    <a:pt x="9" y="7"/>
                    <a:pt x="3" y="8"/>
                    <a:pt x="0" y="6"/>
                  </a:cubicBezTo>
                  <a:cubicBezTo>
                    <a:pt x="1" y="5"/>
                    <a:pt x="1" y="3"/>
                    <a:pt x="2" y="3"/>
                  </a:cubicBezTo>
                  <a:cubicBezTo>
                    <a:pt x="3" y="3"/>
                    <a:pt x="3" y="4"/>
                    <a:pt x="4" y="4"/>
                  </a:cubicBezTo>
                  <a:cubicBezTo>
                    <a:pt x="6" y="5"/>
                    <a:pt x="9" y="5"/>
                    <a:pt x="10" y="7"/>
                  </a:cubicBezTo>
                  <a:cubicBezTo>
                    <a:pt x="10" y="7"/>
                    <a:pt x="12" y="6"/>
                    <a:pt x="12" y="7"/>
                  </a:cubicBezTo>
                  <a:cubicBezTo>
                    <a:pt x="13" y="7"/>
                    <a:pt x="12" y="9"/>
                    <a:pt x="13" y="9"/>
                  </a:cubicBezTo>
                  <a:cubicBezTo>
                    <a:pt x="17" y="8"/>
                    <a:pt x="12" y="6"/>
                    <a:pt x="15" y="4"/>
                  </a:cubicBezTo>
                  <a:cubicBezTo>
                    <a:pt x="17" y="3"/>
                    <a:pt x="17" y="7"/>
                    <a:pt x="17" y="7"/>
                  </a:cubicBezTo>
                  <a:cubicBezTo>
                    <a:pt x="21" y="7"/>
                    <a:pt x="23" y="0"/>
                    <a:pt x="30" y="2"/>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2" name="Freeform 104"/>
            <p:cNvSpPr/>
            <p:nvPr/>
          </p:nvSpPr>
          <p:spPr bwMode="auto">
            <a:xfrm>
              <a:off x="8629239" y="1346049"/>
              <a:ext cx="217488" cy="82550"/>
            </a:xfrm>
            <a:custGeom>
              <a:avLst/>
              <a:gdLst>
                <a:gd name="T0" fmla="*/ 61 w 58"/>
                <a:gd name="T1" fmla="*/ 19 h 22"/>
                <a:gd name="T2" fmla="*/ 90 w 58"/>
                <a:gd name="T3" fmla="*/ 31 h 22"/>
                <a:gd name="T4" fmla="*/ 90 w 58"/>
                <a:gd name="T5" fmla="*/ 17 h 22"/>
                <a:gd name="T6" fmla="*/ 80 w 58"/>
                <a:gd name="T7" fmla="*/ 5 h 22"/>
                <a:gd name="T8" fmla="*/ 99 w 58"/>
                <a:gd name="T9" fmla="*/ 2 h 22"/>
                <a:gd name="T10" fmla="*/ 106 w 58"/>
                <a:gd name="T11" fmla="*/ 7 h 22"/>
                <a:gd name="T12" fmla="*/ 106 w 58"/>
                <a:gd name="T13" fmla="*/ 14 h 22"/>
                <a:gd name="T14" fmla="*/ 116 w 58"/>
                <a:gd name="T15" fmla="*/ 21 h 22"/>
                <a:gd name="T16" fmla="*/ 125 w 58"/>
                <a:gd name="T17" fmla="*/ 17 h 22"/>
                <a:gd name="T18" fmla="*/ 135 w 58"/>
                <a:gd name="T19" fmla="*/ 21 h 22"/>
                <a:gd name="T20" fmla="*/ 137 w 58"/>
                <a:gd name="T21" fmla="*/ 28 h 22"/>
                <a:gd name="T22" fmla="*/ 135 w 58"/>
                <a:gd name="T23" fmla="*/ 38 h 22"/>
                <a:gd name="T24" fmla="*/ 116 w 58"/>
                <a:gd name="T25" fmla="*/ 40 h 22"/>
                <a:gd name="T26" fmla="*/ 106 w 58"/>
                <a:gd name="T27" fmla="*/ 38 h 22"/>
                <a:gd name="T28" fmla="*/ 80 w 58"/>
                <a:gd name="T29" fmla="*/ 45 h 22"/>
                <a:gd name="T30" fmla="*/ 76 w 58"/>
                <a:gd name="T31" fmla="*/ 45 h 22"/>
                <a:gd name="T32" fmla="*/ 66 w 58"/>
                <a:gd name="T33" fmla="*/ 47 h 22"/>
                <a:gd name="T34" fmla="*/ 38 w 58"/>
                <a:gd name="T35" fmla="*/ 52 h 22"/>
                <a:gd name="T36" fmla="*/ 64 w 58"/>
                <a:gd name="T37" fmla="*/ 45 h 22"/>
                <a:gd name="T38" fmla="*/ 50 w 58"/>
                <a:gd name="T39" fmla="*/ 38 h 22"/>
                <a:gd name="T40" fmla="*/ 38 w 58"/>
                <a:gd name="T41" fmla="*/ 33 h 22"/>
                <a:gd name="T42" fmla="*/ 28 w 58"/>
                <a:gd name="T43" fmla="*/ 38 h 22"/>
                <a:gd name="T44" fmla="*/ 19 w 58"/>
                <a:gd name="T45" fmla="*/ 35 h 22"/>
                <a:gd name="T46" fmla="*/ 0 w 58"/>
                <a:gd name="T47" fmla="*/ 33 h 22"/>
                <a:gd name="T48" fmla="*/ 5 w 58"/>
                <a:gd name="T49" fmla="*/ 28 h 22"/>
                <a:gd name="T50" fmla="*/ 9 w 58"/>
                <a:gd name="T51" fmla="*/ 19 h 22"/>
                <a:gd name="T52" fmla="*/ 19 w 58"/>
                <a:gd name="T53" fmla="*/ 17 h 22"/>
                <a:gd name="T54" fmla="*/ 17 w 58"/>
                <a:gd name="T55" fmla="*/ 12 h 22"/>
                <a:gd name="T56" fmla="*/ 21 w 58"/>
                <a:gd name="T57" fmla="*/ 12 h 22"/>
                <a:gd name="T58" fmla="*/ 31 w 58"/>
                <a:gd name="T59" fmla="*/ 7 h 22"/>
                <a:gd name="T60" fmla="*/ 45 w 58"/>
                <a:gd name="T61" fmla="*/ 12 h 22"/>
                <a:gd name="T62" fmla="*/ 47 w 58"/>
                <a:gd name="T63" fmla="*/ 17 h 22"/>
                <a:gd name="T64" fmla="*/ 52 w 58"/>
                <a:gd name="T65" fmla="*/ 17 h 22"/>
                <a:gd name="T66" fmla="*/ 52 w 58"/>
                <a:gd name="T67" fmla="*/ 24 h 22"/>
                <a:gd name="T68" fmla="*/ 61 w 58"/>
                <a:gd name="T69" fmla="*/ 19 h 2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8" h="22">
                  <a:moveTo>
                    <a:pt x="26" y="8"/>
                  </a:moveTo>
                  <a:cubicBezTo>
                    <a:pt x="25" y="12"/>
                    <a:pt x="35" y="10"/>
                    <a:pt x="38" y="13"/>
                  </a:cubicBezTo>
                  <a:cubicBezTo>
                    <a:pt x="40" y="8"/>
                    <a:pt x="30" y="7"/>
                    <a:pt x="38" y="7"/>
                  </a:cubicBezTo>
                  <a:cubicBezTo>
                    <a:pt x="39" y="2"/>
                    <a:pt x="32" y="7"/>
                    <a:pt x="34" y="2"/>
                  </a:cubicBezTo>
                  <a:cubicBezTo>
                    <a:pt x="38" y="3"/>
                    <a:pt x="38" y="0"/>
                    <a:pt x="42" y="1"/>
                  </a:cubicBezTo>
                  <a:cubicBezTo>
                    <a:pt x="41" y="3"/>
                    <a:pt x="44" y="3"/>
                    <a:pt x="45" y="3"/>
                  </a:cubicBezTo>
                  <a:cubicBezTo>
                    <a:pt x="45" y="4"/>
                    <a:pt x="44" y="5"/>
                    <a:pt x="45" y="6"/>
                  </a:cubicBezTo>
                  <a:cubicBezTo>
                    <a:pt x="46" y="7"/>
                    <a:pt x="48" y="7"/>
                    <a:pt x="49" y="9"/>
                  </a:cubicBezTo>
                  <a:cubicBezTo>
                    <a:pt x="51" y="8"/>
                    <a:pt x="51" y="7"/>
                    <a:pt x="53" y="7"/>
                  </a:cubicBezTo>
                  <a:cubicBezTo>
                    <a:pt x="55" y="7"/>
                    <a:pt x="56" y="8"/>
                    <a:pt x="57" y="9"/>
                  </a:cubicBezTo>
                  <a:cubicBezTo>
                    <a:pt x="57" y="9"/>
                    <a:pt x="58" y="11"/>
                    <a:pt x="58" y="12"/>
                  </a:cubicBezTo>
                  <a:cubicBezTo>
                    <a:pt x="56" y="13"/>
                    <a:pt x="58" y="13"/>
                    <a:pt x="57" y="16"/>
                  </a:cubicBezTo>
                  <a:cubicBezTo>
                    <a:pt x="54" y="13"/>
                    <a:pt x="52" y="17"/>
                    <a:pt x="49" y="17"/>
                  </a:cubicBezTo>
                  <a:cubicBezTo>
                    <a:pt x="47" y="18"/>
                    <a:pt x="47" y="16"/>
                    <a:pt x="45" y="16"/>
                  </a:cubicBezTo>
                  <a:cubicBezTo>
                    <a:pt x="41" y="16"/>
                    <a:pt x="37" y="18"/>
                    <a:pt x="34" y="19"/>
                  </a:cubicBezTo>
                  <a:cubicBezTo>
                    <a:pt x="34" y="19"/>
                    <a:pt x="32" y="18"/>
                    <a:pt x="32" y="19"/>
                  </a:cubicBezTo>
                  <a:cubicBezTo>
                    <a:pt x="31" y="20"/>
                    <a:pt x="30" y="19"/>
                    <a:pt x="28" y="20"/>
                  </a:cubicBezTo>
                  <a:cubicBezTo>
                    <a:pt x="27" y="20"/>
                    <a:pt x="21" y="22"/>
                    <a:pt x="16" y="22"/>
                  </a:cubicBezTo>
                  <a:cubicBezTo>
                    <a:pt x="17" y="18"/>
                    <a:pt x="23" y="19"/>
                    <a:pt x="27" y="19"/>
                  </a:cubicBezTo>
                  <a:cubicBezTo>
                    <a:pt x="28" y="14"/>
                    <a:pt x="23" y="17"/>
                    <a:pt x="21" y="16"/>
                  </a:cubicBezTo>
                  <a:cubicBezTo>
                    <a:pt x="19" y="16"/>
                    <a:pt x="19" y="15"/>
                    <a:pt x="16" y="14"/>
                  </a:cubicBezTo>
                  <a:cubicBezTo>
                    <a:pt x="14" y="13"/>
                    <a:pt x="14" y="16"/>
                    <a:pt x="12" y="16"/>
                  </a:cubicBezTo>
                  <a:cubicBezTo>
                    <a:pt x="10" y="17"/>
                    <a:pt x="10" y="15"/>
                    <a:pt x="8" y="15"/>
                  </a:cubicBezTo>
                  <a:cubicBezTo>
                    <a:pt x="6" y="15"/>
                    <a:pt x="2" y="16"/>
                    <a:pt x="0" y="14"/>
                  </a:cubicBezTo>
                  <a:cubicBezTo>
                    <a:pt x="0" y="12"/>
                    <a:pt x="2" y="12"/>
                    <a:pt x="2" y="12"/>
                  </a:cubicBezTo>
                  <a:cubicBezTo>
                    <a:pt x="3" y="11"/>
                    <a:pt x="3" y="8"/>
                    <a:pt x="4" y="8"/>
                  </a:cubicBezTo>
                  <a:cubicBezTo>
                    <a:pt x="5" y="7"/>
                    <a:pt x="7" y="8"/>
                    <a:pt x="8" y="7"/>
                  </a:cubicBezTo>
                  <a:cubicBezTo>
                    <a:pt x="9" y="6"/>
                    <a:pt x="4" y="5"/>
                    <a:pt x="7" y="5"/>
                  </a:cubicBezTo>
                  <a:cubicBezTo>
                    <a:pt x="8" y="4"/>
                    <a:pt x="9" y="5"/>
                    <a:pt x="9" y="5"/>
                  </a:cubicBezTo>
                  <a:cubicBezTo>
                    <a:pt x="11" y="4"/>
                    <a:pt x="12" y="3"/>
                    <a:pt x="13" y="3"/>
                  </a:cubicBezTo>
                  <a:cubicBezTo>
                    <a:pt x="14" y="3"/>
                    <a:pt x="18" y="4"/>
                    <a:pt x="19" y="5"/>
                  </a:cubicBezTo>
                  <a:cubicBezTo>
                    <a:pt x="20" y="5"/>
                    <a:pt x="19" y="6"/>
                    <a:pt x="20" y="7"/>
                  </a:cubicBezTo>
                  <a:cubicBezTo>
                    <a:pt x="20" y="7"/>
                    <a:pt x="22" y="7"/>
                    <a:pt x="22" y="7"/>
                  </a:cubicBezTo>
                  <a:cubicBezTo>
                    <a:pt x="23" y="8"/>
                    <a:pt x="20" y="11"/>
                    <a:pt x="22" y="10"/>
                  </a:cubicBezTo>
                  <a:cubicBezTo>
                    <a:pt x="23" y="10"/>
                    <a:pt x="24" y="7"/>
                    <a:pt x="26" y="8"/>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3" name="Freeform 105"/>
            <p:cNvSpPr/>
            <p:nvPr/>
          </p:nvSpPr>
          <p:spPr bwMode="auto">
            <a:xfrm>
              <a:off x="8478427" y="1433362"/>
              <a:ext cx="173038" cy="115887"/>
            </a:xfrm>
            <a:custGeom>
              <a:avLst/>
              <a:gdLst>
                <a:gd name="T0" fmla="*/ 14 w 46"/>
                <a:gd name="T1" fmla="*/ 0 h 31"/>
                <a:gd name="T2" fmla="*/ 62 w 46"/>
                <a:gd name="T3" fmla="*/ 5 h 31"/>
                <a:gd name="T4" fmla="*/ 66 w 46"/>
                <a:gd name="T5" fmla="*/ 5 h 31"/>
                <a:gd name="T6" fmla="*/ 78 w 46"/>
                <a:gd name="T7" fmla="*/ 7 h 31"/>
                <a:gd name="T8" fmla="*/ 90 w 46"/>
                <a:gd name="T9" fmla="*/ 7 h 31"/>
                <a:gd name="T10" fmla="*/ 92 w 46"/>
                <a:gd name="T11" fmla="*/ 9 h 31"/>
                <a:gd name="T12" fmla="*/ 109 w 46"/>
                <a:gd name="T13" fmla="*/ 21 h 31"/>
                <a:gd name="T14" fmla="*/ 83 w 46"/>
                <a:gd name="T15" fmla="*/ 26 h 31"/>
                <a:gd name="T16" fmla="*/ 81 w 46"/>
                <a:gd name="T17" fmla="*/ 31 h 31"/>
                <a:gd name="T18" fmla="*/ 76 w 46"/>
                <a:gd name="T19" fmla="*/ 28 h 31"/>
                <a:gd name="T20" fmla="*/ 73 w 46"/>
                <a:gd name="T21" fmla="*/ 31 h 31"/>
                <a:gd name="T22" fmla="*/ 76 w 46"/>
                <a:gd name="T23" fmla="*/ 33 h 31"/>
                <a:gd name="T24" fmla="*/ 69 w 46"/>
                <a:gd name="T25" fmla="*/ 38 h 31"/>
                <a:gd name="T26" fmla="*/ 69 w 46"/>
                <a:gd name="T27" fmla="*/ 42 h 31"/>
                <a:gd name="T28" fmla="*/ 64 w 46"/>
                <a:gd name="T29" fmla="*/ 42 h 31"/>
                <a:gd name="T30" fmla="*/ 59 w 46"/>
                <a:gd name="T31" fmla="*/ 47 h 31"/>
                <a:gd name="T32" fmla="*/ 59 w 46"/>
                <a:gd name="T33" fmla="*/ 59 h 31"/>
                <a:gd name="T34" fmla="*/ 26 w 46"/>
                <a:gd name="T35" fmla="*/ 68 h 31"/>
                <a:gd name="T36" fmla="*/ 0 w 46"/>
                <a:gd name="T37" fmla="*/ 52 h 31"/>
                <a:gd name="T38" fmla="*/ 7 w 46"/>
                <a:gd name="T39" fmla="*/ 45 h 31"/>
                <a:gd name="T40" fmla="*/ 12 w 46"/>
                <a:gd name="T41" fmla="*/ 40 h 31"/>
                <a:gd name="T42" fmla="*/ 7 w 46"/>
                <a:gd name="T43" fmla="*/ 28 h 31"/>
                <a:gd name="T44" fmla="*/ 14 w 46"/>
                <a:gd name="T45" fmla="*/ 26 h 31"/>
                <a:gd name="T46" fmla="*/ 19 w 46"/>
                <a:gd name="T47" fmla="*/ 14 h 31"/>
                <a:gd name="T48" fmla="*/ 14 w 46"/>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6" h="31">
                  <a:moveTo>
                    <a:pt x="6" y="0"/>
                  </a:moveTo>
                  <a:cubicBezTo>
                    <a:pt x="13" y="1"/>
                    <a:pt x="21" y="0"/>
                    <a:pt x="26" y="2"/>
                  </a:cubicBezTo>
                  <a:cubicBezTo>
                    <a:pt x="26" y="2"/>
                    <a:pt x="28" y="1"/>
                    <a:pt x="28" y="2"/>
                  </a:cubicBezTo>
                  <a:cubicBezTo>
                    <a:pt x="29" y="3"/>
                    <a:pt x="32" y="2"/>
                    <a:pt x="33" y="3"/>
                  </a:cubicBezTo>
                  <a:cubicBezTo>
                    <a:pt x="35" y="5"/>
                    <a:pt x="33" y="1"/>
                    <a:pt x="38" y="3"/>
                  </a:cubicBezTo>
                  <a:cubicBezTo>
                    <a:pt x="38" y="3"/>
                    <a:pt x="38" y="4"/>
                    <a:pt x="39" y="4"/>
                  </a:cubicBezTo>
                  <a:cubicBezTo>
                    <a:pt x="40" y="4"/>
                    <a:pt x="46" y="6"/>
                    <a:pt x="46" y="9"/>
                  </a:cubicBezTo>
                  <a:cubicBezTo>
                    <a:pt x="42" y="9"/>
                    <a:pt x="38" y="10"/>
                    <a:pt x="35" y="11"/>
                  </a:cubicBezTo>
                  <a:cubicBezTo>
                    <a:pt x="34" y="11"/>
                    <a:pt x="35" y="13"/>
                    <a:pt x="34" y="13"/>
                  </a:cubicBezTo>
                  <a:cubicBezTo>
                    <a:pt x="33" y="14"/>
                    <a:pt x="33" y="12"/>
                    <a:pt x="32" y="12"/>
                  </a:cubicBezTo>
                  <a:cubicBezTo>
                    <a:pt x="32" y="12"/>
                    <a:pt x="30" y="14"/>
                    <a:pt x="31" y="13"/>
                  </a:cubicBezTo>
                  <a:cubicBezTo>
                    <a:pt x="30" y="14"/>
                    <a:pt x="32" y="15"/>
                    <a:pt x="32" y="14"/>
                  </a:cubicBezTo>
                  <a:cubicBezTo>
                    <a:pt x="31" y="16"/>
                    <a:pt x="30" y="15"/>
                    <a:pt x="29" y="16"/>
                  </a:cubicBezTo>
                  <a:cubicBezTo>
                    <a:pt x="29" y="16"/>
                    <a:pt x="30" y="18"/>
                    <a:pt x="29" y="18"/>
                  </a:cubicBezTo>
                  <a:cubicBezTo>
                    <a:pt x="29" y="18"/>
                    <a:pt x="27" y="18"/>
                    <a:pt x="27" y="18"/>
                  </a:cubicBezTo>
                  <a:cubicBezTo>
                    <a:pt x="26" y="19"/>
                    <a:pt x="26" y="20"/>
                    <a:pt x="25" y="20"/>
                  </a:cubicBezTo>
                  <a:cubicBezTo>
                    <a:pt x="25" y="22"/>
                    <a:pt x="25" y="24"/>
                    <a:pt x="25" y="25"/>
                  </a:cubicBezTo>
                  <a:cubicBezTo>
                    <a:pt x="19" y="25"/>
                    <a:pt x="20" y="31"/>
                    <a:pt x="11" y="29"/>
                  </a:cubicBezTo>
                  <a:cubicBezTo>
                    <a:pt x="12" y="22"/>
                    <a:pt x="4" y="23"/>
                    <a:pt x="0" y="22"/>
                  </a:cubicBezTo>
                  <a:cubicBezTo>
                    <a:pt x="0" y="20"/>
                    <a:pt x="3" y="20"/>
                    <a:pt x="3" y="19"/>
                  </a:cubicBezTo>
                  <a:cubicBezTo>
                    <a:pt x="4" y="19"/>
                    <a:pt x="1" y="16"/>
                    <a:pt x="5" y="17"/>
                  </a:cubicBezTo>
                  <a:cubicBezTo>
                    <a:pt x="5" y="15"/>
                    <a:pt x="3" y="14"/>
                    <a:pt x="3" y="12"/>
                  </a:cubicBezTo>
                  <a:cubicBezTo>
                    <a:pt x="5" y="14"/>
                    <a:pt x="5" y="13"/>
                    <a:pt x="6" y="11"/>
                  </a:cubicBezTo>
                  <a:cubicBezTo>
                    <a:pt x="6" y="9"/>
                    <a:pt x="8" y="10"/>
                    <a:pt x="8" y="6"/>
                  </a:cubicBezTo>
                  <a:cubicBezTo>
                    <a:pt x="9" y="3"/>
                    <a:pt x="4" y="5"/>
                    <a:pt x="6"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4" name="Freeform 106"/>
            <p:cNvSpPr/>
            <p:nvPr/>
          </p:nvSpPr>
          <p:spPr bwMode="auto">
            <a:xfrm>
              <a:off x="8827677" y="1455587"/>
              <a:ext cx="36513" cy="26987"/>
            </a:xfrm>
            <a:custGeom>
              <a:avLst/>
              <a:gdLst>
                <a:gd name="T0" fmla="*/ 2 w 10"/>
                <a:gd name="T1" fmla="*/ 0 h 7"/>
                <a:gd name="T2" fmla="*/ 18 w 10"/>
                <a:gd name="T3" fmla="*/ 0 h 7"/>
                <a:gd name="T4" fmla="*/ 21 w 10"/>
                <a:gd name="T5" fmla="*/ 12 h 7"/>
                <a:gd name="T6" fmla="*/ 16 w 10"/>
                <a:gd name="T7" fmla="*/ 17 h 7"/>
                <a:gd name="T8" fmla="*/ 0 w 10"/>
                <a:gd name="T9" fmla="*/ 10 h 7"/>
                <a:gd name="T10" fmla="*/ 2 w 10"/>
                <a:gd name="T11" fmla="*/ 0 h 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 h="7">
                  <a:moveTo>
                    <a:pt x="1" y="0"/>
                  </a:moveTo>
                  <a:cubicBezTo>
                    <a:pt x="4" y="0"/>
                    <a:pt x="6" y="0"/>
                    <a:pt x="8" y="0"/>
                  </a:cubicBezTo>
                  <a:cubicBezTo>
                    <a:pt x="8" y="2"/>
                    <a:pt x="10" y="3"/>
                    <a:pt x="9" y="5"/>
                  </a:cubicBezTo>
                  <a:cubicBezTo>
                    <a:pt x="7" y="5"/>
                    <a:pt x="7" y="6"/>
                    <a:pt x="7" y="7"/>
                  </a:cubicBezTo>
                  <a:cubicBezTo>
                    <a:pt x="5" y="6"/>
                    <a:pt x="4" y="3"/>
                    <a:pt x="0" y="4"/>
                  </a:cubicBezTo>
                  <a:cubicBezTo>
                    <a:pt x="1" y="3"/>
                    <a:pt x="1" y="2"/>
                    <a:pt x="1"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5" name="Freeform 107"/>
            <p:cNvSpPr/>
            <p:nvPr/>
          </p:nvSpPr>
          <p:spPr bwMode="auto">
            <a:xfrm>
              <a:off x="9018177" y="1444474"/>
              <a:ext cx="87313" cy="60325"/>
            </a:xfrm>
            <a:custGeom>
              <a:avLst/>
              <a:gdLst>
                <a:gd name="T0" fmla="*/ 50 w 23"/>
                <a:gd name="T1" fmla="*/ 2 h 16"/>
                <a:gd name="T2" fmla="*/ 53 w 23"/>
                <a:gd name="T3" fmla="*/ 17 h 16"/>
                <a:gd name="T4" fmla="*/ 48 w 23"/>
                <a:gd name="T5" fmla="*/ 21 h 16"/>
                <a:gd name="T6" fmla="*/ 33 w 23"/>
                <a:gd name="T7" fmla="*/ 24 h 16"/>
                <a:gd name="T8" fmla="*/ 10 w 23"/>
                <a:gd name="T9" fmla="*/ 38 h 16"/>
                <a:gd name="T10" fmla="*/ 7 w 23"/>
                <a:gd name="T11" fmla="*/ 26 h 16"/>
                <a:gd name="T12" fmla="*/ 2 w 23"/>
                <a:gd name="T13" fmla="*/ 21 h 16"/>
                <a:gd name="T14" fmla="*/ 2 w 23"/>
                <a:gd name="T15" fmla="*/ 7 h 16"/>
                <a:gd name="T16" fmla="*/ 7 w 23"/>
                <a:gd name="T17" fmla="*/ 2 h 16"/>
                <a:gd name="T18" fmla="*/ 17 w 23"/>
                <a:gd name="T19" fmla="*/ 0 h 16"/>
                <a:gd name="T20" fmla="*/ 38 w 23"/>
                <a:gd name="T21" fmla="*/ 5 h 16"/>
                <a:gd name="T22" fmla="*/ 50 w 23"/>
                <a:gd name="T23" fmla="*/ 2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3" h="16">
                  <a:moveTo>
                    <a:pt x="21" y="1"/>
                  </a:moveTo>
                  <a:cubicBezTo>
                    <a:pt x="23" y="1"/>
                    <a:pt x="21" y="5"/>
                    <a:pt x="22" y="7"/>
                  </a:cubicBezTo>
                  <a:cubicBezTo>
                    <a:pt x="20" y="6"/>
                    <a:pt x="20" y="8"/>
                    <a:pt x="20" y="9"/>
                  </a:cubicBezTo>
                  <a:cubicBezTo>
                    <a:pt x="16" y="7"/>
                    <a:pt x="15" y="14"/>
                    <a:pt x="14" y="10"/>
                  </a:cubicBezTo>
                  <a:cubicBezTo>
                    <a:pt x="11" y="13"/>
                    <a:pt x="9" y="16"/>
                    <a:pt x="4" y="16"/>
                  </a:cubicBezTo>
                  <a:cubicBezTo>
                    <a:pt x="3" y="15"/>
                    <a:pt x="3" y="14"/>
                    <a:pt x="3" y="11"/>
                  </a:cubicBezTo>
                  <a:cubicBezTo>
                    <a:pt x="2" y="10"/>
                    <a:pt x="1" y="10"/>
                    <a:pt x="1" y="9"/>
                  </a:cubicBezTo>
                  <a:cubicBezTo>
                    <a:pt x="0" y="7"/>
                    <a:pt x="1" y="5"/>
                    <a:pt x="1" y="3"/>
                  </a:cubicBezTo>
                  <a:cubicBezTo>
                    <a:pt x="3" y="4"/>
                    <a:pt x="3" y="2"/>
                    <a:pt x="3" y="1"/>
                  </a:cubicBezTo>
                  <a:cubicBezTo>
                    <a:pt x="5" y="1"/>
                    <a:pt x="6" y="1"/>
                    <a:pt x="7" y="0"/>
                  </a:cubicBezTo>
                  <a:cubicBezTo>
                    <a:pt x="8" y="2"/>
                    <a:pt x="14" y="0"/>
                    <a:pt x="16" y="2"/>
                  </a:cubicBezTo>
                  <a:cubicBezTo>
                    <a:pt x="18" y="2"/>
                    <a:pt x="21" y="3"/>
                    <a:pt x="21" y="1"/>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6" name="Freeform 108"/>
            <p:cNvSpPr/>
            <p:nvPr/>
          </p:nvSpPr>
          <p:spPr bwMode="auto">
            <a:xfrm>
              <a:off x="3638900" y="1681882"/>
              <a:ext cx="190500" cy="93662"/>
            </a:xfrm>
            <a:custGeom>
              <a:avLst/>
              <a:gdLst>
                <a:gd name="T0" fmla="*/ 87 w 51"/>
                <a:gd name="T1" fmla="*/ 0 h 25"/>
                <a:gd name="T2" fmla="*/ 99 w 51"/>
                <a:gd name="T3" fmla="*/ 7 h 25"/>
                <a:gd name="T4" fmla="*/ 106 w 51"/>
                <a:gd name="T5" fmla="*/ 9 h 25"/>
                <a:gd name="T6" fmla="*/ 104 w 51"/>
                <a:gd name="T7" fmla="*/ 14 h 25"/>
                <a:gd name="T8" fmla="*/ 118 w 51"/>
                <a:gd name="T9" fmla="*/ 24 h 25"/>
                <a:gd name="T10" fmla="*/ 108 w 51"/>
                <a:gd name="T11" fmla="*/ 40 h 25"/>
                <a:gd name="T12" fmla="*/ 101 w 51"/>
                <a:gd name="T13" fmla="*/ 42 h 25"/>
                <a:gd name="T14" fmla="*/ 89 w 51"/>
                <a:gd name="T15" fmla="*/ 47 h 25"/>
                <a:gd name="T16" fmla="*/ 82 w 51"/>
                <a:gd name="T17" fmla="*/ 52 h 25"/>
                <a:gd name="T18" fmla="*/ 75 w 51"/>
                <a:gd name="T19" fmla="*/ 54 h 25"/>
                <a:gd name="T20" fmla="*/ 42 w 51"/>
                <a:gd name="T21" fmla="*/ 57 h 25"/>
                <a:gd name="T22" fmla="*/ 40 w 51"/>
                <a:gd name="T23" fmla="*/ 54 h 25"/>
                <a:gd name="T24" fmla="*/ 28 w 51"/>
                <a:gd name="T25" fmla="*/ 47 h 25"/>
                <a:gd name="T26" fmla="*/ 24 w 51"/>
                <a:gd name="T27" fmla="*/ 45 h 25"/>
                <a:gd name="T28" fmla="*/ 28 w 51"/>
                <a:gd name="T29" fmla="*/ 42 h 25"/>
                <a:gd name="T30" fmla="*/ 21 w 51"/>
                <a:gd name="T31" fmla="*/ 38 h 25"/>
                <a:gd name="T32" fmla="*/ 21 w 51"/>
                <a:gd name="T33" fmla="*/ 21 h 25"/>
                <a:gd name="T34" fmla="*/ 5 w 51"/>
                <a:gd name="T35" fmla="*/ 24 h 25"/>
                <a:gd name="T36" fmla="*/ 9 w 51"/>
                <a:gd name="T37" fmla="*/ 12 h 25"/>
                <a:gd name="T38" fmla="*/ 31 w 51"/>
                <a:gd name="T39" fmla="*/ 12 h 25"/>
                <a:gd name="T40" fmla="*/ 35 w 51"/>
                <a:gd name="T41" fmla="*/ 24 h 25"/>
                <a:gd name="T42" fmla="*/ 42 w 51"/>
                <a:gd name="T43" fmla="*/ 12 h 25"/>
                <a:gd name="T44" fmla="*/ 59 w 51"/>
                <a:gd name="T45" fmla="*/ 19 h 25"/>
                <a:gd name="T46" fmla="*/ 64 w 51"/>
                <a:gd name="T47" fmla="*/ 12 h 25"/>
                <a:gd name="T48" fmla="*/ 82 w 51"/>
                <a:gd name="T49" fmla="*/ 9 h 25"/>
                <a:gd name="T50" fmla="*/ 87 w 51"/>
                <a:gd name="T51" fmla="*/ 0 h 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 h="25">
                  <a:moveTo>
                    <a:pt x="37" y="0"/>
                  </a:moveTo>
                  <a:cubicBezTo>
                    <a:pt x="38" y="1"/>
                    <a:pt x="40" y="2"/>
                    <a:pt x="42" y="3"/>
                  </a:cubicBezTo>
                  <a:cubicBezTo>
                    <a:pt x="42" y="3"/>
                    <a:pt x="45" y="4"/>
                    <a:pt x="45" y="4"/>
                  </a:cubicBezTo>
                  <a:cubicBezTo>
                    <a:pt x="45" y="4"/>
                    <a:pt x="44" y="6"/>
                    <a:pt x="44" y="6"/>
                  </a:cubicBezTo>
                  <a:cubicBezTo>
                    <a:pt x="44" y="8"/>
                    <a:pt x="47" y="11"/>
                    <a:pt x="50" y="10"/>
                  </a:cubicBezTo>
                  <a:cubicBezTo>
                    <a:pt x="51" y="13"/>
                    <a:pt x="49" y="15"/>
                    <a:pt x="46" y="17"/>
                  </a:cubicBezTo>
                  <a:cubicBezTo>
                    <a:pt x="45" y="18"/>
                    <a:pt x="44" y="18"/>
                    <a:pt x="43" y="18"/>
                  </a:cubicBezTo>
                  <a:cubicBezTo>
                    <a:pt x="41" y="19"/>
                    <a:pt x="41" y="20"/>
                    <a:pt x="38" y="20"/>
                  </a:cubicBezTo>
                  <a:cubicBezTo>
                    <a:pt x="38" y="20"/>
                    <a:pt x="35" y="22"/>
                    <a:pt x="35" y="22"/>
                  </a:cubicBezTo>
                  <a:cubicBezTo>
                    <a:pt x="34" y="23"/>
                    <a:pt x="34" y="22"/>
                    <a:pt x="32" y="23"/>
                  </a:cubicBezTo>
                  <a:cubicBezTo>
                    <a:pt x="31" y="23"/>
                    <a:pt x="22" y="25"/>
                    <a:pt x="18" y="24"/>
                  </a:cubicBezTo>
                  <a:cubicBezTo>
                    <a:pt x="18" y="24"/>
                    <a:pt x="18" y="23"/>
                    <a:pt x="17" y="23"/>
                  </a:cubicBezTo>
                  <a:cubicBezTo>
                    <a:pt x="15" y="23"/>
                    <a:pt x="14" y="21"/>
                    <a:pt x="12" y="20"/>
                  </a:cubicBezTo>
                  <a:cubicBezTo>
                    <a:pt x="11" y="20"/>
                    <a:pt x="11" y="19"/>
                    <a:pt x="10" y="19"/>
                  </a:cubicBezTo>
                  <a:cubicBezTo>
                    <a:pt x="10" y="18"/>
                    <a:pt x="11" y="18"/>
                    <a:pt x="12" y="18"/>
                  </a:cubicBezTo>
                  <a:cubicBezTo>
                    <a:pt x="12" y="17"/>
                    <a:pt x="9" y="17"/>
                    <a:pt x="9" y="16"/>
                  </a:cubicBezTo>
                  <a:cubicBezTo>
                    <a:pt x="8" y="14"/>
                    <a:pt x="9" y="12"/>
                    <a:pt x="9" y="9"/>
                  </a:cubicBezTo>
                  <a:cubicBezTo>
                    <a:pt x="4" y="7"/>
                    <a:pt x="4" y="13"/>
                    <a:pt x="2" y="10"/>
                  </a:cubicBezTo>
                  <a:cubicBezTo>
                    <a:pt x="0" y="6"/>
                    <a:pt x="5" y="9"/>
                    <a:pt x="4" y="5"/>
                  </a:cubicBezTo>
                  <a:cubicBezTo>
                    <a:pt x="9" y="6"/>
                    <a:pt x="8" y="5"/>
                    <a:pt x="13" y="5"/>
                  </a:cubicBezTo>
                  <a:cubicBezTo>
                    <a:pt x="14" y="8"/>
                    <a:pt x="17" y="7"/>
                    <a:pt x="15" y="10"/>
                  </a:cubicBezTo>
                  <a:cubicBezTo>
                    <a:pt x="18" y="10"/>
                    <a:pt x="18" y="8"/>
                    <a:pt x="18" y="5"/>
                  </a:cubicBezTo>
                  <a:cubicBezTo>
                    <a:pt x="19" y="7"/>
                    <a:pt x="29" y="2"/>
                    <a:pt x="25" y="8"/>
                  </a:cubicBezTo>
                  <a:cubicBezTo>
                    <a:pt x="28" y="9"/>
                    <a:pt x="27" y="6"/>
                    <a:pt x="27" y="5"/>
                  </a:cubicBezTo>
                  <a:cubicBezTo>
                    <a:pt x="29" y="4"/>
                    <a:pt x="32" y="5"/>
                    <a:pt x="35" y="4"/>
                  </a:cubicBezTo>
                  <a:cubicBezTo>
                    <a:pt x="36" y="3"/>
                    <a:pt x="37" y="2"/>
                    <a:pt x="37"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7" name="Freeform 109"/>
            <p:cNvSpPr/>
            <p:nvPr/>
          </p:nvSpPr>
          <p:spPr bwMode="auto">
            <a:xfrm>
              <a:off x="9172164" y="1706412"/>
              <a:ext cx="112713" cy="82550"/>
            </a:xfrm>
            <a:custGeom>
              <a:avLst/>
              <a:gdLst>
                <a:gd name="T0" fmla="*/ 19 w 30"/>
                <a:gd name="T1" fmla="*/ 0 h 22"/>
                <a:gd name="T2" fmla="*/ 36 w 30"/>
                <a:gd name="T3" fmla="*/ 17 h 22"/>
                <a:gd name="T4" fmla="*/ 40 w 30"/>
                <a:gd name="T5" fmla="*/ 14 h 22"/>
                <a:gd name="T6" fmla="*/ 50 w 30"/>
                <a:gd name="T7" fmla="*/ 24 h 22"/>
                <a:gd name="T8" fmla="*/ 62 w 30"/>
                <a:gd name="T9" fmla="*/ 38 h 22"/>
                <a:gd name="T10" fmla="*/ 71 w 30"/>
                <a:gd name="T11" fmla="*/ 40 h 22"/>
                <a:gd name="T12" fmla="*/ 36 w 30"/>
                <a:gd name="T13" fmla="*/ 43 h 22"/>
                <a:gd name="T14" fmla="*/ 21 w 30"/>
                <a:gd name="T15" fmla="*/ 52 h 22"/>
                <a:gd name="T16" fmla="*/ 0 w 30"/>
                <a:gd name="T17" fmla="*/ 43 h 22"/>
                <a:gd name="T18" fmla="*/ 5 w 30"/>
                <a:gd name="T19" fmla="*/ 40 h 22"/>
                <a:gd name="T20" fmla="*/ 7 w 30"/>
                <a:gd name="T21" fmla="*/ 33 h 22"/>
                <a:gd name="T22" fmla="*/ 7 w 30"/>
                <a:gd name="T23" fmla="*/ 9 h 22"/>
                <a:gd name="T24" fmla="*/ 19 w 30"/>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22">
                  <a:moveTo>
                    <a:pt x="8" y="0"/>
                  </a:moveTo>
                  <a:cubicBezTo>
                    <a:pt x="10" y="3"/>
                    <a:pt x="16" y="2"/>
                    <a:pt x="15" y="7"/>
                  </a:cubicBezTo>
                  <a:cubicBezTo>
                    <a:pt x="16" y="8"/>
                    <a:pt x="18" y="6"/>
                    <a:pt x="17" y="6"/>
                  </a:cubicBezTo>
                  <a:cubicBezTo>
                    <a:pt x="19" y="7"/>
                    <a:pt x="18" y="10"/>
                    <a:pt x="21" y="10"/>
                  </a:cubicBezTo>
                  <a:cubicBezTo>
                    <a:pt x="23" y="10"/>
                    <a:pt x="24" y="14"/>
                    <a:pt x="26" y="16"/>
                  </a:cubicBezTo>
                  <a:cubicBezTo>
                    <a:pt x="29" y="15"/>
                    <a:pt x="28" y="15"/>
                    <a:pt x="30" y="17"/>
                  </a:cubicBezTo>
                  <a:cubicBezTo>
                    <a:pt x="28" y="20"/>
                    <a:pt x="20" y="17"/>
                    <a:pt x="15" y="18"/>
                  </a:cubicBezTo>
                  <a:cubicBezTo>
                    <a:pt x="13" y="19"/>
                    <a:pt x="10" y="19"/>
                    <a:pt x="9" y="22"/>
                  </a:cubicBezTo>
                  <a:cubicBezTo>
                    <a:pt x="6" y="20"/>
                    <a:pt x="5" y="17"/>
                    <a:pt x="0" y="18"/>
                  </a:cubicBezTo>
                  <a:cubicBezTo>
                    <a:pt x="0" y="17"/>
                    <a:pt x="1" y="17"/>
                    <a:pt x="2" y="17"/>
                  </a:cubicBezTo>
                  <a:cubicBezTo>
                    <a:pt x="1" y="15"/>
                    <a:pt x="1" y="14"/>
                    <a:pt x="3" y="14"/>
                  </a:cubicBezTo>
                  <a:cubicBezTo>
                    <a:pt x="1" y="10"/>
                    <a:pt x="4" y="9"/>
                    <a:pt x="3" y="4"/>
                  </a:cubicBezTo>
                  <a:cubicBezTo>
                    <a:pt x="6" y="3"/>
                    <a:pt x="8" y="3"/>
                    <a:pt x="8"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8" name="Freeform 110"/>
            <p:cNvSpPr/>
            <p:nvPr/>
          </p:nvSpPr>
          <p:spPr bwMode="auto">
            <a:xfrm>
              <a:off x="5791550" y="3005857"/>
              <a:ext cx="187325" cy="201612"/>
            </a:xfrm>
            <a:custGeom>
              <a:avLst/>
              <a:gdLst>
                <a:gd name="T0" fmla="*/ 9 w 50"/>
                <a:gd name="T1" fmla="*/ 19 h 54"/>
                <a:gd name="T2" fmla="*/ 5 w 50"/>
                <a:gd name="T3" fmla="*/ 16 h 54"/>
                <a:gd name="T4" fmla="*/ 0 w 50"/>
                <a:gd name="T5" fmla="*/ 7 h 54"/>
                <a:gd name="T6" fmla="*/ 21 w 50"/>
                <a:gd name="T7" fmla="*/ 5 h 54"/>
                <a:gd name="T8" fmla="*/ 33 w 50"/>
                <a:gd name="T9" fmla="*/ 9 h 54"/>
                <a:gd name="T10" fmla="*/ 33 w 50"/>
                <a:gd name="T11" fmla="*/ 16 h 54"/>
                <a:gd name="T12" fmla="*/ 38 w 50"/>
                <a:gd name="T13" fmla="*/ 21 h 54"/>
                <a:gd name="T14" fmla="*/ 50 w 50"/>
                <a:gd name="T15" fmla="*/ 26 h 54"/>
                <a:gd name="T16" fmla="*/ 68 w 50"/>
                <a:gd name="T17" fmla="*/ 42 h 54"/>
                <a:gd name="T18" fmla="*/ 76 w 50"/>
                <a:gd name="T19" fmla="*/ 52 h 54"/>
                <a:gd name="T20" fmla="*/ 83 w 50"/>
                <a:gd name="T21" fmla="*/ 54 h 54"/>
                <a:gd name="T22" fmla="*/ 87 w 50"/>
                <a:gd name="T23" fmla="*/ 59 h 54"/>
                <a:gd name="T24" fmla="*/ 87 w 50"/>
                <a:gd name="T25" fmla="*/ 66 h 54"/>
                <a:gd name="T26" fmla="*/ 94 w 50"/>
                <a:gd name="T27" fmla="*/ 71 h 54"/>
                <a:gd name="T28" fmla="*/ 101 w 50"/>
                <a:gd name="T29" fmla="*/ 80 h 54"/>
                <a:gd name="T30" fmla="*/ 109 w 50"/>
                <a:gd name="T31" fmla="*/ 85 h 54"/>
                <a:gd name="T32" fmla="*/ 113 w 50"/>
                <a:gd name="T33" fmla="*/ 99 h 54"/>
                <a:gd name="T34" fmla="*/ 116 w 50"/>
                <a:gd name="T35" fmla="*/ 111 h 54"/>
                <a:gd name="T36" fmla="*/ 118 w 50"/>
                <a:gd name="T37" fmla="*/ 118 h 54"/>
                <a:gd name="T38" fmla="*/ 104 w 50"/>
                <a:gd name="T39" fmla="*/ 120 h 54"/>
                <a:gd name="T40" fmla="*/ 94 w 50"/>
                <a:gd name="T41" fmla="*/ 120 h 54"/>
                <a:gd name="T42" fmla="*/ 94 w 50"/>
                <a:gd name="T43" fmla="*/ 115 h 54"/>
                <a:gd name="T44" fmla="*/ 87 w 50"/>
                <a:gd name="T45" fmla="*/ 115 h 54"/>
                <a:gd name="T46" fmla="*/ 76 w 50"/>
                <a:gd name="T47" fmla="*/ 103 h 54"/>
                <a:gd name="T48" fmla="*/ 78 w 50"/>
                <a:gd name="T49" fmla="*/ 99 h 54"/>
                <a:gd name="T50" fmla="*/ 76 w 50"/>
                <a:gd name="T51" fmla="*/ 99 h 54"/>
                <a:gd name="T52" fmla="*/ 71 w 50"/>
                <a:gd name="T53" fmla="*/ 94 h 54"/>
                <a:gd name="T54" fmla="*/ 66 w 50"/>
                <a:gd name="T55" fmla="*/ 94 h 54"/>
                <a:gd name="T56" fmla="*/ 54 w 50"/>
                <a:gd name="T57" fmla="*/ 82 h 54"/>
                <a:gd name="T58" fmla="*/ 50 w 50"/>
                <a:gd name="T59" fmla="*/ 64 h 54"/>
                <a:gd name="T60" fmla="*/ 47 w 50"/>
                <a:gd name="T61" fmla="*/ 68 h 54"/>
                <a:gd name="T62" fmla="*/ 40 w 50"/>
                <a:gd name="T63" fmla="*/ 54 h 54"/>
                <a:gd name="T64" fmla="*/ 35 w 50"/>
                <a:gd name="T65" fmla="*/ 49 h 54"/>
                <a:gd name="T66" fmla="*/ 31 w 50"/>
                <a:gd name="T67" fmla="*/ 45 h 54"/>
                <a:gd name="T68" fmla="*/ 28 w 50"/>
                <a:gd name="T69" fmla="*/ 35 h 54"/>
                <a:gd name="T70" fmla="*/ 19 w 50"/>
                <a:gd name="T71" fmla="*/ 28 h 54"/>
                <a:gd name="T72" fmla="*/ 14 w 50"/>
                <a:gd name="T73" fmla="*/ 24 h 54"/>
                <a:gd name="T74" fmla="*/ 9 w 50"/>
                <a:gd name="T75" fmla="*/ 19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50" h="54">
                  <a:moveTo>
                    <a:pt x="4" y="8"/>
                  </a:moveTo>
                  <a:cubicBezTo>
                    <a:pt x="5" y="6"/>
                    <a:pt x="3" y="7"/>
                    <a:pt x="2" y="7"/>
                  </a:cubicBezTo>
                  <a:cubicBezTo>
                    <a:pt x="1" y="6"/>
                    <a:pt x="2" y="3"/>
                    <a:pt x="0" y="3"/>
                  </a:cubicBezTo>
                  <a:cubicBezTo>
                    <a:pt x="3" y="0"/>
                    <a:pt x="5" y="4"/>
                    <a:pt x="9" y="2"/>
                  </a:cubicBezTo>
                  <a:cubicBezTo>
                    <a:pt x="9" y="5"/>
                    <a:pt x="12" y="3"/>
                    <a:pt x="14" y="4"/>
                  </a:cubicBezTo>
                  <a:cubicBezTo>
                    <a:pt x="14" y="4"/>
                    <a:pt x="13" y="6"/>
                    <a:pt x="14" y="7"/>
                  </a:cubicBezTo>
                  <a:cubicBezTo>
                    <a:pt x="15" y="7"/>
                    <a:pt x="17" y="7"/>
                    <a:pt x="16" y="9"/>
                  </a:cubicBezTo>
                  <a:cubicBezTo>
                    <a:pt x="19" y="8"/>
                    <a:pt x="18" y="11"/>
                    <a:pt x="21" y="11"/>
                  </a:cubicBezTo>
                  <a:cubicBezTo>
                    <a:pt x="23" y="11"/>
                    <a:pt x="26" y="18"/>
                    <a:pt x="29" y="18"/>
                  </a:cubicBezTo>
                  <a:cubicBezTo>
                    <a:pt x="32" y="18"/>
                    <a:pt x="30" y="21"/>
                    <a:pt x="32" y="22"/>
                  </a:cubicBezTo>
                  <a:cubicBezTo>
                    <a:pt x="32" y="23"/>
                    <a:pt x="34" y="22"/>
                    <a:pt x="35" y="23"/>
                  </a:cubicBezTo>
                  <a:cubicBezTo>
                    <a:pt x="36" y="23"/>
                    <a:pt x="37" y="25"/>
                    <a:pt x="37" y="25"/>
                  </a:cubicBezTo>
                  <a:cubicBezTo>
                    <a:pt x="38" y="26"/>
                    <a:pt x="37" y="27"/>
                    <a:pt x="37" y="28"/>
                  </a:cubicBezTo>
                  <a:cubicBezTo>
                    <a:pt x="38" y="29"/>
                    <a:pt x="39" y="29"/>
                    <a:pt x="40" y="30"/>
                  </a:cubicBezTo>
                  <a:cubicBezTo>
                    <a:pt x="41" y="31"/>
                    <a:pt x="41" y="34"/>
                    <a:pt x="43" y="34"/>
                  </a:cubicBezTo>
                  <a:cubicBezTo>
                    <a:pt x="44" y="34"/>
                    <a:pt x="45" y="36"/>
                    <a:pt x="46" y="36"/>
                  </a:cubicBezTo>
                  <a:cubicBezTo>
                    <a:pt x="47" y="37"/>
                    <a:pt x="46" y="42"/>
                    <a:pt x="48" y="42"/>
                  </a:cubicBezTo>
                  <a:cubicBezTo>
                    <a:pt x="49" y="42"/>
                    <a:pt x="49" y="45"/>
                    <a:pt x="49" y="47"/>
                  </a:cubicBezTo>
                  <a:cubicBezTo>
                    <a:pt x="49" y="49"/>
                    <a:pt x="47" y="50"/>
                    <a:pt x="50" y="50"/>
                  </a:cubicBezTo>
                  <a:cubicBezTo>
                    <a:pt x="50" y="54"/>
                    <a:pt x="47" y="52"/>
                    <a:pt x="44" y="51"/>
                  </a:cubicBezTo>
                  <a:cubicBezTo>
                    <a:pt x="43" y="51"/>
                    <a:pt x="41" y="52"/>
                    <a:pt x="40" y="51"/>
                  </a:cubicBezTo>
                  <a:cubicBezTo>
                    <a:pt x="39" y="51"/>
                    <a:pt x="40" y="49"/>
                    <a:pt x="40" y="49"/>
                  </a:cubicBezTo>
                  <a:cubicBezTo>
                    <a:pt x="39" y="49"/>
                    <a:pt x="38" y="49"/>
                    <a:pt x="37" y="49"/>
                  </a:cubicBezTo>
                  <a:cubicBezTo>
                    <a:pt x="36" y="48"/>
                    <a:pt x="34" y="44"/>
                    <a:pt x="32" y="44"/>
                  </a:cubicBezTo>
                  <a:cubicBezTo>
                    <a:pt x="32" y="43"/>
                    <a:pt x="33" y="43"/>
                    <a:pt x="33" y="42"/>
                  </a:cubicBezTo>
                  <a:cubicBezTo>
                    <a:pt x="32" y="41"/>
                    <a:pt x="32" y="41"/>
                    <a:pt x="32" y="42"/>
                  </a:cubicBezTo>
                  <a:cubicBezTo>
                    <a:pt x="30" y="42"/>
                    <a:pt x="31" y="40"/>
                    <a:pt x="30" y="40"/>
                  </a:cubicBezTo>
                  <a:cubicBezTo>
                    <a:pt x="30" y="39"/>
                    <a:pt x="28" y="40"/>
                    <a:pt x="28" y="40"/>
                  </a:cubicBezTo>
                  <a:cubicBezTo>
                    <a:pt x="26" y="38"/>
                    <a:pt x="26" y="35"/>
                    <a:pt x="23" y="35"/>
                  </a:cubicBezTo>
                  <a:cubicBezTo>
                    <a:pt x="25" y="30"/>
                    <a:pt x="21" y="30"/>
                    <a:pt x="21" y="27"/>
                  </a:cubicBezTo>
                  <a:cubicBezTo>
                    <a:pt x="20" y="27"/>
                    <a:pt x="20" y="28"/>
                    <a:pt x="20" y="29"/>
                  </a:cubicBezTo>
                  <a:cubicBezTo>
                    <a:pt x="18" y="28"/>
                    <a:pt x="19" y="25"/>
                    <a:pt x="17" y="23"/>
                  </a:cubicBezTo>
                  <a:cubicBezTo>
                    <a:pt x="17" y="22"/>
                    <a:pt x="16" y="21"/>
                    <a:pt x="15" y="21"/>
                  </a:cubicBezTo>
                  <a:cubicBezTo>
                    <a:pt x="14" y="20"/>
                    <a:pt x="14" y="19"/>
                    <a:pt x="13" y="19"/>
                  </a:cubicBezTo>
                  <a:cubicBezTo>
                    <a:pt x="13" y="17"/>
                    <a:pt x="12" y="16"/>
                    <a:pt x="12" y="15"/>
                  </a:cubicBezTo>
                  <a:cubicBezTo>
                    <a:pt x="11" y="13"/>
                    <a:pt x="9" y="13"/>
                    <a:pt x="8" y="12"/>
                  </a:cubicBezTo>
                  <a:cubicBezTo>
                    <a:pt x="8" y="12"/>
                    <a:pt x="6" y="10"/>
                    <a:pt x="6" y="10"/>
                  </a:cubicBezTo>
                  <a:cubicBezTo>
                    <a:pt x="5" y="8"/>
                    <a:pt x="9" y="6"/>
                    <a:pt x="4" y="8"/>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09" name="Freeform 111"/>
            <p:cNvSpPr/>
            <p:nvPr/>
          </p:nvSpPr>
          <p:spPr bwMode="auto">
            <a:xfrm>
              <a:off x="4853338" y="3320182"/>
              <a:ext cx="134938" cy="247650"/>
            </a:xfrm>
            <a:custGeom>
              <a:avLst/>
              <a:gdLst>
                <a:gd name="T0" fmla="*/ 64 w 36"/>
                <a:gd name="T1" fmla="*/ 0 h 66"/>
                <a:gd name="T2" fmla="*/ 76 w 36"/>
                <a:gd name="T3" fmla="*/ 2 h 66"/>
                <a:gd name="T4" fmla="*/ 71 w 36"/>
                <a:gd name="T5" fmla="*/ 54 h 66"/>
                <a:gd name="T6" fmla="*/ 64 w 36"/>
                <a:gd name="T7" fmla="*/ 87 h 66"/>
                <a:gd name="T8" fmla="*/ 57 w 36"/>
                <a:gd name="T9" fmla="*/ 102 h 66"/>
                <a:gd name="T10" fmla="*/ 52 w 36"/>
                <a:gd name="T11" fmla="*/ 118 h 66"/>
                <a:gd name="T12" fmla="*/ 52 w 36"/>
                <a:gd name="T13" fmla="*/ 123 h 66"/>
                <a:gd name="T14" fmla="*/ 47 w 36"/>
                <a:gd name="T15" fmla="*/ 125 h 66"/>
                <a:gd name="T16" fmla="*/ 45 w 36"/>
                <a:gd name="T17" fmla="*/ 142 h 66"/>
                <a:gd name="T18" fmla="*/ 43 w 36"/>
                <a:gd name="T19" fmla="*/ 144 h 66"/>
                <a:gd name="T20" fmla="*/ 40 w 36"/>
                <a:gd name="T21" fmla="*/ 154 h 66"/>
                <a:gd name="T22" fmla="*/ 12 w 36"/>
                <a:gd name="T23" fmla="*/ 156 h 66"/>
                <a:gd name="T24" fmla="*/ 9 w 36"/>
                <a:gd name="T25" fmla="*/ 142 h 66"/>
                <a:gd name="T26" fmla="*/ 7 w 36"/>
                <a:gd name="T27" fmla="*/ 137 h 66"/>
                <a:gd name="T28" fmla="*/ 0 w 36"/>
                <a:gd name="T29" fmla="*/ 135 h 66"/>
                <a:gd name="T30" fmla="*/ 0 w 36"/>
                <a:gd name="T31" fmla="*/ 123 h 66"/>
                <a:gd name="T32" fmla="*/ 2 w 36"/>
                <a:gd name="T33" fmla="*/ 121 h 66"/>
                <a:gd name="T34" fmla="*/ 0 w 36"/>
                <a:gd name="T35" fmla="*/ 118 h 66"/>
                <a:gd name="T36" fmla="*/ 7 w 36"/>
                <a:gd name="T37" fmla="*/ 106 h 66"/>
                <a:gd name="T38" fmla="*/ 7 w 36"/>
                <a:gd name="T39" fmla="*/ 102 h 66"/>
                <a:gd name="T40" fmla="*/ 12 w 36"/>
                <a:gd name="T41" fmla="*/ 97 h 66"/>
                <a:gd name="T42" fmla="*/ 17 w 36"/>
                <a:gd name="T43" fmla="*/ 85 h 66"/>
                <a:gd name="T44" fmla="*/ 12 w 36"/>
                <a:gd name="T45" fmla="*/ 76 h 66"/>
                <a:gd name="T46" fmla="*/ 12 w 36"/>
                <a:gd name="T47" fmla="*/ 59 h 66"/>
                <a:gd name="T48" fmla="*/ 17 w 36"/>
                <a:gd name="T49" fmla="*/ 54 h 66"/>
                <a:gd name="T50" fmla="*/ 26 w 36"/>
                <a:gd name="T51" fmla="*/ 47 h 66"/>
                <a:gd name="T52" fmla="*/ 40 w 36"/>
                <a:gd name="T53" fmla="*/ 38 h 66"/>
                <a:gd name="T54" fmla="*/ 47 w 36"/>
                <a:gd name="T55" fmla="*/ 40 h 66"/>
                <a:gd name="T56" fmla="*/ 50 w 36"/>
                <a:gd name="T57" fmla="*/ 24 h 66"/>
                <a:gd name="T58" fmla="*/ 59 w 36"/>
                <a:gd name="T59" fmla="*/ 19 h 66"/>
                <a:gd name="T60" fmla="*/ 64 w 36"/>
                <a:gd name="T61" fmla="*/ 0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36" h="66">
                  <a:moveTo>
                    <a:pt x="27" y="0"/>
                  </a:moveTo>
                  <a:cubicBezTo>
                    <a:pt x="28" y="1"/>
                    <a:pt x="30" y="2"/>
                    <a:pt x="32" y="1"/>
                  </a:cubicBezTo>
                  <a:cubicBezTo>
                    <a:pt x="30" y="7"/>
                    <a:pt x="36" y="18"/>
                    <a:pt x="30" y="23"/>
                  </a:cubicBezTo>
                  <a:cubicBezTo>
                    <a:pt x="30" y="28"/>
                    <a:pt x="29" y="32"/>
                    <a:pt x="27" y="37"/>
                  </a:cubicBezTo>
                  <a:cubicBezTo>
                    <a:pt x="27" y="39"/>
                    <a:pt x="26" y="42"/>
                    <a:pt x="24" y="43"/>
                  </a:cubicBezTo>
                  <a:cubicBezTo>
                    <a:pt x="25" y="46"/>
                    <a:pt x="23" y="48"/>
                    <a:pt x="22" y="50"/>
                  </a:cubicBezTo>
                  <a:cubicBezTo>
                    <a:pt x="22" y="50"/>
                    <a:pt x="23" y="52"/>
                    <a:pt x="22" y="52"/>
                  </a:cubicBezTo>
                  <a:cubicBezTo>
                    <a:pt x="22" y="52"/>
                    <a:pt x="20" y="53"/>
                    <a:pt x="20" y="53"/>
                  </a:cubicBezTo>
                  <a:cubicBezTo>
                    <a:pt x="19" y="55"/>
                    <a:pt x="20" y="58"/>
                    <a:pt x="19" y="60"/>
                  </a:cubicBezTo>
                  <a:cubicBezTo>
                    <a:pt x="19" y="61"/>
                    <a:pt x="18" y="60"/>
                    <a:pt x="18" y="61"/>
                  </a:cubicBezTo>
                  <a:cubicBezTo>
                    <a:pt x="18" y="62"/>
                    <a:pt x="16" y="63"/>
                    <a:pt x="17" y="65"/>
                  </a:cubicBezTo>
                  <a:cubicBezTo>
                    <a:pt x="14" y="66"/>
                    <a:pt x="9" y="66"/>
                    <a:pt x="5" y="66"/>
                  </a:cubicBezTo>
                  <a:cubicBezTo>
                    <a:pt x="5" y="63"/>
                    <a:pt x="3" y="64"/>
                    <a:pt x="4" y="60"/>
                  </a:cubicBezTo>
                  <a:cubicBezTo>
                    <a:pt x="3" y="60"/>
                    <a:pt x="3" y="59"/>
                    <a:pt x="3" y="58"/>
                  </a:cubicBezTo>
                  <a:cubicBezTo>
                    <a:pt x="1" y="58"/>
                    <a:pt x="0" y="58"/>
                    <a:pt x="0" y="57"/>
                  </a:cubicBezTo>
                  <a:cubicBezTo>
                    <a:pt x="0" y="55"/>
                    <a:pt x="0" y="54"/>
                    <a:pt x="0" y="52"/>
                  </a:cubicBezTo>
                  <a:cubicBezTo>
                    <a:pt x="0" y="51"/>
                    <a:pt x="1" y="51"/>
                    <a:pt x="1" y="51"/>
                  </a:cubicBezTo>
                  <a:cubicBezTo>
                    <a:pt x="2" y="50"/>
                    <a:pt x="0" y="50"/>
                    <a:pt x="0" y="50"/>
                  </a:cubicBezTo>
                  <a:cubicBezTo>
                    <a:pt x="1" y="48"/>
                    <a:pt x="2" y="46"/>
                    <a:pt x="3" y="45"/>
                  </a:cubicBezTo>
                  <a:cubicBezTo>
                    <a:pt x="3" y="45"/>
                    <a:pt x="2" y="43"/>
                    <a:pt x="3" y="43"/>
                  </a:cubicBezTo>
                  <a:cubicBezTo>
                    <a:pt x="3" y="43"/>
                    <a:pt x="5" y="42"/>
                    <a:pt x="5" y="41"/>
                  </a:cubicBezTo>
                  <a:cubicBezTo>
                    <a:pt x="5" y="39"/>
                    <a:pt x="3" y="32"/>
                    <a:pt x="7" y="36"/>
                  </a:cubicBezTo>
                  <a:cubicBezTo>
                    <a:pt x="8" y="33"/>
                    <a:pt x="5" y="34"/>
                    <a:pt x="5" y="32"/>
                  </a:cubicBezTo>
                  <a:cubicBezTo>
                    <a:pt x="5" y="30"/>
                    <a:pt x="5" y="27"/>
                    <a:pt x="5" y="25"/>
                  </a:cubicBezTo>
                  <a:cubicBezTo>
                    <a:pt x="7" y="25"/>
                    <a:pt x="7" y="24"/>
                    <a:pt x="7" y="23"/>
                  </a:cubicBezTo>
                  <a:cubicBezTo>
                    <a:pt x="10" y="23"/>
                    <a:pt x="10" y="21"/>
                    <a:pt x="11" y="20"/>
                  </a:cubicBezTo>
                  <a:cubicBezTo>
                    <a:pt x="12" y="19"/>
                    <a:pt x="17" y="20"/>
                    <a:pt x="17" y="16"/>
                  </a:cubicBezTo>
                  <a:cubicBezTo>
                    <a:pt x="19" y="15"/>
                    <a:pt x="19" y="17"/>
                    <a:pt x="20" y="17"/>
                  </a:cubicBezTo>
                  <a:cubicBezTo>
                    <a:pt x="19" y="13"/>
                    <a:pt x="21" y="12"/>
                    <a:pt x="21" y="10"/>
                  </a:cubicBezTo>
                  <a:cubicBezTo>
                    <a:pt x="25" y="12"/>
                    <a:pt x="24" y="2"/>
                    <a:pt x="25" y="8"/>
                  </a:cubicBezTo>
                  <a:cubicBezTo>
                    <a:pt x="29" y="7"/>
                    <a:pt x="25" y="2"/>
                    <a:pt x="27" y="0"/>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sp>
          <p:nvSpPr>
            <p:cNvPr id="110" name="Freeform 112"/>
            <p:cNvSpPr/>
            <p:nvPr/>
          </p:nvSpPr>
          <p:spPr bwMode="auto">
            <a:xfrm>
              <a:off x="6110638" y="3309069"/>
              <a:ext cx="727075" cy="533400"/>
            </a:xfrm>
            <a:custGeom>
              <a:avLst/>
              <a:gdLst>
                <a:gd name="T0" fmla="*/ 267 w 194"/>
                <a:gd name="T1" fmla="*/ 26 h 142"/>
                <a:gd name="T2" fmla="*/ 255 w 194"/>
                <a:gd name="T3" fmla="*/ 33 h 142"/>
                <a:gd name="T4" fmla="*/ 269 w 194"/>
                <a:gd name="T5" fmla="*/ 50 h 142"/>
                <a:gd name="T6" fmla="*/ 307 w 194"/>
                <a:gd name="T7" fmla="*/ 71 h 142"/>
                <a:gd name="T8" fmla="*/ 319 w 194"/>
                <a:gd name="T9" fmla="*/ 54 h 142"/>
                <a:gd name="T10" fmla="*/ 321 w 194"/>
                <a:gd name="T11" fmla="*/ 45 h 142"/>
                <a:gd name="T12" fmla="*/ 323 w 194"/>
                <a:gd name="T13" fmla="*/ 19 h 142"/>
                <a:gd name="T14" fmla="*/ 333 w 194"/>
                <a:gd name="T15" fmla="*/ 5 h 142"/>
                <a:gd name="T16" fmla="*/ 340 w 194"/>
                <a:gd name="T17" fmla="*/ 17 h 142"/>
                <a:gd name="T18" fmla="*/ 354 w 194"/>
                <a:gd name="T19" fmla="*/ 45 h 142"/>
                <a:gd name="T20" fmla="*/ 368 w 194"/>
                <a:gd name="T21" fmla="*/ 64 h 142"/>
                <a:gd name="T22" fmla="*/ 382 w 194"/>
                <a:gd name="T23" fmla="*/ 83 h 142"/>
                <a:gd name="T24" fmla="*/ 392 w 194"/>
                <a:gd name="T25" fmla="*/ 104 h 142"/>
                <a:gd name="T26" fmla="*/ 399 w 194"/>
                <a:gd name="T27" fmla="*/ 111 h 142"/>
                <a:gd name="T28" fmla="*/ 416 w 194"/>
                <a:gd name="T29" fmla="*/ 123 h 142"/>
                <a:gd name="T30" fmla="*/ 430 w 194"/>
                <a:gd name="T31" fmla="*/ 149 h 142"/>
                <a:gd name="T32" fmla="*/ 434 w 194"/>
                <a:gd name="T33" fmla="*/ 156 h 142"/>
                <a:gd name="T34" fmla="*/ 451 w 194"/>
                <a:gd name="T35" fmla="*/ 166 h 142"/>
                <a:gd name="T36" fmla="*/ 458 w 194"/>
                <a:gd name="T37" fmla="*/ 213 h 142"/>
                <a:gd name="T38" fmla="*/ 449 w 194"/>
                <a:gd name="T39" fmla="*/ 237 h 142"/>
                <a:gd name="T40" fmla="*/ 449 w 194"/>
                <a:gd name="T41" fmla="*/ 244 h 142"/>
                <a:gd name="T42" fmla="*/ 444 w 194"/>
                <a:gd name="T43" fmla="*/ 260 h 142"/>
                <a:gd name="T44" fmla="*/ 427 w 194"/>
                <a:gd name="T45" fmla="*/ 274 h 142"/>
                <a:gd name="T46" fmla="*/ 413 w 194"/>
                <a:gd name="T47" fmla="*/ 317 h 142"/>
                <a:gd name="T48" fmla="*/ 387 w 194"/>
                <a:gd name="T49" fmla="*/ 329 h 142"/>
                <a:gd name="T50" fmla="*/ 378 w 194"/>
                <a:gd name="T51" fmla="*/ 336 h 142"/>
                <a:gd name="T52" fmla="*/ 354 w 194"/>
                <a:gd name="T53" fmla="*/ 331 h 142"/>
                <a:gd name="T54" fmla="*/ 305 w 194"/>
                <a:gd name="T55" fmla="*/ 322 h 142"/>
                <a:gd name="T56" fmla="*/ 302 w 194"/>
                <a:gd name="T57" fmla="*/ 305 h 142"/>
                <a:gd name="T58" fmla="*/ 300 w 194"/>
                <a:gd name="T59" fmla="*/ 298 h 142"/>
                <a:gd name="T60" fmla="*/ 276 w 194"/>
                <a:gd name="T61" fmla="*/ 282 h 142"/>
                <a:gd name="T62" fmla="*/ 267 w 194"/>
                <a:gd name="T63" fmla="*/ 267 h 142"/>
                <a:gd name="T64" fmla="*/ 243 w 194"/>
                <a:gd name="T65" fmla="*/ 258 h 142"/>
                <a:gd name="T66" fmla="*/ 231 w 194"/>
                <a:gd name="T67" fmla="*/ 253 h 142"/>
                <a:gd name="T68" fmla="*/ 179 w 194"/>
                <a:gd name="T69" fmla="*/ 241 h 142"/>
                <a:gd name="T70" fmla="*/ 151 w 194"/>
                <a:gd name="T71" fmla="*/ 251 h 142"/>
                <a:gd name="T72" fmla="*/ 142 w 194"/>
                <a:gd name="T73" fmla="*/ 256 h 142"/>
                <a:gd name="T74" fmla="*/ 132 w 194"/>
                <a:gd name="T75" fmla="*/ 265 h 142"/>
                <a:gd name="T76" fmla="*/ 127 w 194"/>
                <a:gd name="T77" fmla="*/ 265 h 142"/>
                <a:gd name="T78" fmla="*/ 76 w 194"/>
                <a:gd name="T79" fmla="*/ 272 h 142"/>
                <a:gd name="T80" fmla="*/ 68 w 194"/>
                <a:gd name="T81" fmla="*/ 277 h 142"/>
                <a:gd name="T82" fmla="*/ 21 w 194"/>
                <a:gd name="T83" fmla="*/ 286 h 142"/>
                <a:gd name="T84" fmla="*/ 26 w 194"/>
                <a:gd name="T85" fmla="*/ 256 h 142"/>
                <a:gd name="T86" fmla="*/ 21 w 194"/>
                <a:gd name="T87" fmla="*/ 239 h 142"/>
                <a:gd name="T88" fmla="*/ 21 w 194"/>
                <a:gd name="T89" fmla="*/ 227 h 142"/>
                <a:gd name="T90" fmla="*/ 12 w 194"/>
                <a:gd name="T91" fmla="*/ 211 h 142"/>
                <a:gd name="T92" fmla="*/ 9 w 194"/>
                <a:gd name="T93" fmla="*/ 196 h 142"/>
                <a:gd name="T94" fmla="*/ 5 w 194"/>
                <a:gd name="T95" fmla="*/ 180 h 142"/>
                <a:gd name="T96" fmla="*/ 7 w 194"/>
                <a:gd name="T97" fmla="*/ 166 h 142"/>
                <a:gd name="T98" fmla="*/ 7 w 194"/>
                <a:gd name="T99" fmla="*/ 130 h 142"/>
                <a:gd name="T100" fmla="*/ 38 w 194"/>
                <a:gd name="T101" fmla="*/ 111 h 142"/>
                <a:gd name="T102" fmla="*/ 73 w 194"/>
                <a:gd name="T103" fmla="*/ 102 h 142"/>
                <a:gd name="T104" fmla="*/ 94 w 194"/>
                <a:gd name="T105" fmla="*/ 95 h 142"/>
                <a:gd name="T106" fmla="*/ 102 w 194"/>
                <a:gd name="T107" fmla="*/ 64 h 142"/>
                <a:gd name="T108" fmla="*/ 127 w 194"/>
                <a:gd name="T109" fmla="*/ 64 h 142"/>
                <a:gd name="T110" fmla="*/ 132 w 194"/>
                <a:gd name="T111" fmla="*/ 45 h 142"/>
                <a:gd name="T112" fmla="*/ 153 w 194"/>
                <a:gd name="T113" fmla="*/ 31 h 142"/>
                <a:gd name="T114" fmla="*/ 170 w 194"/>
                <a:gd name="T115" fmla="*/ 38 h 142"/>
                <a:gd name="T116" fmla="*/ 177 w 194"/>
                <a:gd name="T117" fmla="*/ 40 h 142"/>
                <a:gd name="T118" fmla="*/ 182 w 194"/>
                <a:gd name="T119" fmla="*/ 35 h 142"/>
                <a:gd name="T120" fmla="*/ 201 w 194"/>
                <a:gd name="T121" fmla="*/ 19 h 142"/>
                <a:gd name="T122" fmla="*/ 215 w 194"/>
                <a:gd name="T123" fmla="*/ 14 h 1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94" h="142">
                  <a:moveTo>
                    <a:pt x="113" y="6"/>
                  </a:moveTo>
                  <a:cubicBezTo>
                    <a:pt x="113" y="8"/>
                    <a:pt x="113" y="10"/>
                    <a:pt x="113" y="11"/>
                  </a:cubicBezTo>
                  <a:cubicBezTo>
                    <a:pt x="111" y="11"/>
                    <a:pt x="110" y="11"/>
                    <a:pt x="109" y="11"/>
                  </a:cubicBezTo>
                  <a:cubicBezTo>
                    <a:pt x="110" y="13"/>
                    <a:pt x="110" y="14"/>
                    <a:pt x="108" y="14"/>
                  </a:cubicBezTo>
                  <a:cubicBezTo>
                    <a:pt x="110" y="16"/>
                    <a:pt x="108" y="15"/>
                    <a:pt x="108" y="19"/>
                  </a:cubicBezTo>
                  <a:cubicBezTo>
                    <a:pt x="109" y="20"/>
                    <a:pt x="111" y="21"/>
                    <a:pt x="114" y="21"/>
                  </a:cubicBezTo>
                  <a:cubicBezTo>
                    <a:pt x="114" y="26"/>
                    <a:pt x="122" y="24"/>
                    <a:pt x="122" y="29"/>
                  </a:cubicBezTo>
                  <a:cubicBezTo>
                    <a:pt x="125" y="29"/>
                    <a:pt x="129" y="29"/>
                    <a:pt x="130" y="30"/>
                  </a:cubicBezTo>
                  <a:cubicBezTo>
                    <a:pt x="132" y="30"/>
                    <a:pt x="130" y="25"/>
                    <a:pt x="135" y="27"/>
                  </a:cubicBezTo>
                  <a:cubicBezTo>
                    <a:pt x="134" y="26"/>
                    <a:pt x="133" y="23"/>
                    <a:pt x="135" y="23"/>
                  </a:cubicBezTo>
                  <a:cubicBezTo>
                    <a:pt x="136" y="23"/>
                    <a:pt x="135" y="21"/>
                    <a:pt x="135" y="20"/>
                  </a:cubicBezTo>
                  <a:cubicBezTo>
                    <a:pt x="135" y="20"/>
                    <a:pt x="136" y="19"/>
                    <a:pt x="136" y="19"/>
                  </a:cubicBezTo>
                  <a:cubicBezTo>
                    <a:pt x="136" y="17"/>
                    <a:pt x="138" y="16"/>
                    <a:pt x="137" y="14"/>
                  </a:cubicBezTo>
                  <a:cubicBezTo>
                    <a:pt x="137" y="13"/>
                    <a:pt x="136" y="11"/>
                    <a:pt x="137" y="8"/>
                  </a:cubicBezTo>
                  <a:cubicBezTo>
                    <a:pt x="137" y="8"/>
                    <a:pt x="139" y="8"/>
                    <a:pt x="140" y="8"/>
                  </a:cubicBezTo>
                  <a:cubicBezTo>
                    <a:pt x="141" y="7"/>
                    <a:pt x="140" y="3"/>
                    <a:pt x="141" y="2"/>
                  </a:cubicBezTo>
                  <a:cubicBezTo>
                    <a:pt x="143" y="2"/>
                    <a:pt x="142" y="6"/>
                    <a:pt x="143" y="7"/>
                  </a:cubicBezTo>
                  <a:cubicBezTo>
                    <a:pt x="143" y="7"/>
                    <a:pt x="144" y="7"/>
                    <a:pt x="144" y="7"/>
                  </a:cubicBezTo>
                  <a:cubicBezTo>
                    <a:pt x="145" y="9"/>
                    <a:pt x="146" y="11"/>
                    <a:pt x="147" y="13"/>
                  </a:cubicBezTo>
                  <a:cubicBezTo>
                    <a:pt x="148" y="15"/>
                    <a:pt x="150" y="16"/>
                    <a:pt x="150" y="19"/>
                  </a:cubicBezTo>
                  <a:cubicBezTo>
                    <a:pt x="153" y="15"/>
                    <a:pt x="151" y="20"/>
                    <a:pt x="155" y="20"/>
                  </a:cubicBezTo>
                  <a:cubicBezTo>
                    <a:pt x="155" y="22"/>
                    <a:pt x="154" y="25"/>
                    <a:pt x="156" y="27"/>
                  </a:cubicBezTo>
                  <a:cubicBezTo>
                    <a:pt x="158" y="29"/>
                    <a:pt x="156" y="31"/>
                    <a:pt x="157" y="35"/>
                  </a:cubicBezTo>
                  <a:cubicBezTo>
                    <a:pt x="160" y="31"/>
                    <a:pt x="158" y="35"/>
                    <a:pt x="162" y="35"/>
                  </a:cubicBezTo>
                  <a:cubicBezTo>
                    <a:pt x="162" y="37"/>
                    <a:pt x="161" y="37"/>
                    <a:pt x="161" y="39"/>
                  </a:cubicBezTo>
                  <a:cubicBezTo>
                    <a:pt x="163" y="40"/>
                    <a:pt x="166" y="40"/>
                    <a:pt x="166" y="44"/>
                  </a:cubicBezTo>
                  <a:cubicBezTo>
                    <a:pt x="166" y="45"/>
                    <a:pt x="168" y="44"/>
                    <a:pt x="169" y="44"/>
                  </a:cubicBezTo>
                  <a:cubicBezTo>
                    <a:pt x="169" y="45"/>
                    <a:pt x="169" y="46"/>
                    <a:pt x="169" y="47"/>
                  </a:cubicBezTo>
                  <a:cubicBezTo>
                    <a:pt x="169" y="47"/>
                    <a:pt x="171" y="46"/>
                    <a:pt x="171" y="47"/>
                  </a:cubicBezTo>
                  <a:cubicBezTo>
                    <a:pt x="173" y="49"/>
                    <a:pt x="173" y="52"/>
                    <a:pt x="176" y="52"/>
                  </a:cubicBezTo>
                  <a:cubicBezTo>
                    <a:pt x="176" y="54"/>
                    <a:pt x="178" y="58"/>
                    <a:pt x="180" y="60"/>
                  </a:cubicBezTo>
                  <a:cubicBezTo>
                    <a:pt x="180" y="61"/>
                    <a:pt x="181" y="62"/>
                    <a:pt x="182" y="63"/>
                  </a:cubicBezTo>
                  <a:cubicBezTo>
                    <a:pt x="182" y="64"/>
                    <a:pt x="184" y="63"/>
                    <a:pt x="184" y="63"/>
                  </a:cubicBezTo>
                  <a:cubicBezTo>
                    <a:pt x="185" y="64"/>
                    <a:pt x="184" y="65"/>
                    <a:pt x="184" y="66"/>
                  </a:cubicBezTo>
                  <a:cubicBezTo>
                    <a:pt x="185" y="66"/>
                    <a:pt x="187" y="66"/>
                    <a:pt x="187" y="66"/>
                  </a:cubicBezTo>
                  <a:cubicBezTo>
                    <a:pt x="189" y="68"/>
                    <a:pt x="187" y="71"/>
                    <a:pt x="191" y="70"/>
                  </a:cubicBezTo>
                  <a:cubicBezTo>
                    <a:pt x="189" y="74"/>
                    <a:pt x="192" y="78"/>
                    <a:pt x="193" y="83"/>
                  </a:cubicBezTo>
                  <a:cubicBezTo>
                    <a:pt x="193" y="86"/>
                    <a:pt x="191" y="89"/>
                    <a:pt x="194" y="90"/>
                  </a:cubicBezTo>
                  <a:cubicBezTo>
                    <a:pt x="191" y="92"/>
                    <a:pt x="192" y="94"/>
                    <a:pt x="191" y="99"/>
                  </a:cubicBezTo>
                  <a:cubicBezTo>
                    <a:pt x="191" y="98"/>
                    <a:pt x="189" y="99"/>
                    <a:pt x="190" y="100"/>
                  </a:cubicBezTo>
                  <a:cubicBezTo>
                    <a:pt x="190" y="100"/>
                    <a:pt x="191" y="100"/>
                    <a:pt x="191" y="100"/>
                  </a:cubicBezTo>
                  <a:cubicBezTo>
                    <a:pt x="191" y="100"/>
                    <a:pt x="191" y="103"/>
                    <a:pt x="190" y="103"/>
                  </a:cubicBezTo>
                  <a:cubicBezTo>
                    <a:pt x="190" y="104"/>
                    <a:pt x="188" y="104"/>
                    <a:pt x="188" y="105"/>
                  </a:cubicBezTo>
                  <a:cubicBezTo>
                    <a:pt x="187" y="106"/>
                    <a:pt x="190" y="108"/>
                    <a:pt x="188" y="110"/>
                  </a:cubicBezTo>
                  <a:cubicBezTo>
                    <a:pt x="186" y="110"/>
                    <a:pt x="186" y="114"/>
                    <a:pt x="183" y="113"/>
                  </a:cubicBezTo>
                  <a:cubicBezTo>
                    <a:pt x="184" y="115"/>
                    <a:pt x="183" y="116"/>
                    <a:pt x="181" y="116"/>
                  </a:cubicBezTo>
                  <a:cubicBezTo>
                    <a:pt x="182" y="121"/>
                    <a:pt x="179" y="122"/>
                    <a:pt x="180" y="127"/>
                  </a:cubicBezTo>
                  <a:cubicBezTo>
                    <a:pt x="175" y="126"/>
                    <a:pt x="176" y="131"/>
                    <a:pt x="175" y="134"/>
                  </a:cubicBezTo>
                  <a:cubicBezTo>
                    <a:pt x="173" y="134"/>
                    <a:pt x="171" y="134"/>
                    <a:pt x="171" y="135"/>
                  </a:cubicBezTo>
                  <a:cubicBezTo>
                    <a:pt x="171" y="137"/>
                    <a:pt x="167" y="137"/>
                    <a:pt x="164" y="139"/>
                  </a:cubicBezTo>
                  <a:cubicBezTo>
                    <a:pt x="164" y="139"/>
                    <a:pt x="163" y="141"/>
                    <a:pt x="162" y="141"/>
                  </a:cubicBezTo>
                  <a:cubicBezTo>
                    <a:pt x="161" y="142"/>
                    <a:pt x="160" y="141"/>
                    <a:pt x="160" y="142"/>
                  </a:cubicBezTo>
                  <a:cubicBezTo>
                    <a:pt x="157" y="141"/>
                    <a:pt x="156" y="138"/>
                    <a:pt x="153" y="137"/>
                  </a:cubicBezTo>
                  <a:cubicBezTo>
                    <a:pt x="150" y="136"/>
                    <a:pt x="151" y="139"/>
                    <a:pt x="150" y="140"/>
                  </a:cubicBezTo>
                  <a:cubicBezTo>
                    <a:pt x="148" y="141"/>
                    <a:pt x="144" y="140"/>
                    <a:pt x="142" y="142"/>
                  </a:cubicBezTo>
                  <a:cubicBezTo>
                    <a:pt x="138" y="140"/>
                    <a:pt x="135" y="137"/>
                    <a:pt x="129" y="136"/>
                  </a:cubicBezTo>
                  <a:cubicBezTo>
                    <a:pt x="130" y="135"/>
                    <a:pt x="130" y="133"/>
                    <a:pt x="129" y="130"/>
                  </a:cubicBezTo>
                  <a:cubicBezTo>
                    <a:pt x="129" y="130"/>
                    <a:pt x="128" y="130"/>
                    <a:pt x="128" y="129"/>
                  </a:cubicBezTo>
                  <a:cubicBezTo>
                    <a:pt x="128" y="129"/>
                    <a:pt x="128" y="128"/>
                    <a:pt x="128" y="128"/>
                  </a:cubicBezTo>
                  <a:cubicBezTo>
                    <a:pt x="127" y="127"/>
                    <a:pt x="125" y="126"/>
                    <a:pt x="127" y="126"/>
                  </a:cubicBezTo>
                  <a:cubicBezTo>
                    <a:pt x="126" y="125"/>
                    <a:pt x="121" y="122"/>
                    <a:pt x="121" y="125"/>
                  </a:cubicBezTo>
                  <a:cubicBezTo>
                    <a:pt x="119" y="123"/>
                    <a:pt x="119" y="120"/>
                    <a:pt x="117" y="119"/>
                  </a:cubicBezTo>
                  <a:cubicBezTo>
                    <a:pt x="117" y="116"/>
                    <a:pt x="118" y="116"/>
                    <a:pt x="118" y="114"/>
                  </a:cubicBezTo>
                  <a:cubicBezTo>
                    <a:pt x="117" y="113"/>
                    <a:pt x="116" y="114"/>
                    <a:pt x="113" y="113"/>
                  </a:cubicBezTo>
                  <a:cubicBezTo>
                    <a:pt x="110" y="114"/>
                    <a:pt x="110" y="118"/>
                    <a:pt x="105" y="117"/>
                  </a:cubicBezTo>
                  <a:cubicBezTo>
                    <a:pt x="107" y="113"/>
                    <a:pt x="102" y="114"/>
                    <a:pt x="103" y="109"/>
                  </a:cubicBezTo>
                  <a:cubicBezTo>
                    <a:pt x="100" y="109"/>
                    <a:pt x="100" y="107"/>
                    <a:pt x="96" y="108"/>
                  </a:cubicBezTo>
                  <a:cubicBezTo>
                    <a:pt x="96" y="107"/>
                    <a:pt x="97" y="107"/>
                    <a:pt x="98" y="107"/>
                  </a:cubicBezTo>
                  <a:cubicBezTo>
                    <a:pt x="95" y="103"/>
                    <a:pt x="93" y="106"/>
                    <a:pt x="87" y="106"/>
                  </a:cubicBezTo>
                  <a:cubicBezTo>
                    <a:pt x="83" y="105"/>
                    <a:pt x="79" y="104"/>
                    <a:pt x="76" y="102"/>
                  </a:cubicBezTo>
                  <a:cubicBezTo>
                    <a:pt x="73" y="103"/>
                    <a:pt x="70" y="103"/>
                    <a:pt x="69" y="106"/>
                  </a:cubicBezTo>
                  <a:cubicBezTo>
                    <a:pt x="67" y="106"/>
                    <a:pt x="66" y="106"/>
                    <a:pt x="64" y="106"/>
                  </a:cubicBezTo>
                  <a:cubicBezTo>
                    <a:pt x="63" y="106"/>
                    <a:pt x="63" y="107"/>
                    <a:pt x="63" y="107"/>
                  </a:cubicBezTo>
                  <a:cubicBezTo>
                    <a:pt x="61" y="107"/>
                    <a:pt x="62" y="105"/>
                    <a:pt x="60" y="108"/>
                  </a:cubicBezTo>
                  <a:cubicBezTo>
                    <a:pt x="59" y="109"/>
                    <a:pt x="58" y="109"/>
                    <a:pt x="58" y="110"/>
                  </a:cubicBezTo>
                  <a:cubicBezTo>
                    <a:pt x="57" y="109"/>
                    <a:pt x="56" y="107"/>
                    <a:pt x="56" y="112"/>
                  </a:cubicBezTo>
                  <a:cubicBezTo>
                    <a:pt x="55" y="111"/>
                    <a:pt x="55" y="110"/>
                    <a:pt x="54" y="110"/>
                  </a:cubicBezTo>
                  <a:cubicBezTo>
                    <a:pt x="52" y="110"/>
                    <a:pt x="53" y="112"/>
                    <a:pt x="54" y="112"/>
                  </a:cubicBezTo>
                  <a:cubicBezTo>
                    <a:pt x="52" y="114"/>
                    <a:pt x="49" y="113"/>
                    <a:pt x="48" y="116"/>
                  </a:cubicBezTo>
                  <a:cubicBezTo>
                    <a:pt x="45" y="114"/>
                    <a:pt x="37" y="116"/>
                    <a:pt x="32" y="115"/>
                  </a:cubicBezTo>
                  <a:cubicBezTo>
                    <a:pt x="31" y="115"/>
                    <a:pt x="32" y="117"/>
                    <a:pt x="31" y="117"/>
                  </a:cubicBezTo>
                  <a:cubicBezTo>
                    <a:pt x="31" y="118"/>
                    <a:pt x="30" y="117"/>
                    <a:pt x="29" y="117"/>
                  </a:cubicBezTo>
                  <a:cubicBezTo>
                    <a:pt x="28" y="118"/>
                    <a:pt x="27" y="118"/>
                    <a:pt x="25" y="119"/>
                  </a:cubicBezTo>
                  <a:cubicBezTo>
                    <a:pt x="22" y="119"/>
                    <a:pt x="16" y="122"/>
                    <a:pt x="9" y="121"/>
                  </a:cubicBezTo>
                  <a:cubicBezTo>
                    <a:pt x="10" y="118"/>
                    <a:pt x="9" y="114"/>
                    <a:pt x="12" y="114"/>
                  </a:cubicBezTo>
                  <a:cubicBezTo>
                    <a:pt x="12" y="112"/>
                    <a:pt x="14" y="108"/>
                    <a:pt x="11" y="108"/>
                  </a:cubicBezTo>
                  <a:cubicBezTo>
                    <a:pt x="8" y="108"/>
                    <a:pt x="12" y="107"/>
                    <a:pt x="11" y="103"/>
                  </a:cubicBezTo>
                  <a:cubicBezTo>
                    <a:pt x="10" y="100"/>
                    <a:pt x="10" y="106"/>
                    <a:pt x="9" y="101"/>
                  </a:cubicBezTo>
                  <a:cubicBezTo>
                    <a:pt x="9" y="101"/>
                    <a:pt x="9" y="99"/>
                    <a:pt x="9" y="99"/>
                  </a:cubicBezTo>
                  <a:cubicBezTo>
                    <a:pt x="7" y="97"/>
                    <a:pt x="9" y="98"/>
                    <a:pt x="9" y="96"/>
                  </a:cubicBezTo>
                  <a:cubicBezTo>
                    <a:pt x="9" y="94"/>
                    <a:pt x="6" y="92"/>
                    <a:pt x="8" y="90"/>
                  </a:cubicBezTo>
                  <a:cubicBezTo>
                    <a:pt x="8" y="89"/>
                    <a:pt x="6" y="90"/>
                    <a:pt x="5" y="89"/>
                  </a:cubicBezTo>
                  <a:cubicBezTo>
                    <a:pt x="5" y="89"/>
                    <a:pt x="6" y="87"/>
                    <a:pt x="5" y="87"/>
                  </a:cubicBezTo>
                  <a:cubicBezTo>
                    <a:pt x="5" y="87"/>
                    <a:pt x="4" y="83"/>
                    <a:pt x="4" y="83"/>
                  </a:cubicBezTo>
                  <a:cubicBezTo>
                    <a:pt x="3" y="82"/>
                    <a:pt x="5" y="83"/>
                    <a:pt x="4" y="81"/>
                  </a:cubicBezTo>
                  <a:cubicBezTo>
                    <a:pt x="4" y="79"/>
                    <a:pt x="1" y="79"/>
                    <a:pt x="2" y="76"/>
                  </a:cubicBezTo>
                  <a:cubicBezTo>
                    <a:pt x="5" y="77"/>
                    <a:pt x="3" y="72"/>
                    <a:pt x="5" y="72"/>
                  </a:cubicBezTo>
                  <a:cubicBezTo>
                    <a:pt x="6" y="70"/>
                    <a:pt x="3" y="71"/>
                    <a:pt x="3" y="70"/>
                  </a:cubicBezTo>
                  <a:cubicBezTo>
                    <a:pt x="2" y="69"/>
                    <a:pt x="4" y="66"/>
                    <a:pt x="1" y="67"/>
                  </a:cubicBezTo>
                  <a:cubicBezTo>
                    <a:pt x="0" y="61"/>
                    <a:pt x="3" y="59"/>
                    <a:pt x="3" y="55"/>
                  </a:cubicBezTo>
                  <a:cubicBezTo>
                    <a:pt x="4" y="57"/>
                    <a:pt x="9" y="56"/>
                    <a:pt x="9" y="53"/>
                  </a:cubicBezTo>
                  <a:cubicBezTo>
                    <a:pt x="9" y="50"/>
                    <a:pt x="17" y="52"/>
                    <a:pt x="16" y="47"/>
                  </a:cubicBezTo>
                  <a:cubicBezTo>
                    <a:pt x="23" y="48"/>
                    <a:pt x="26" y="45"/>
                    <a:pt x="31" y="44"/>
                  </a:cubicBezTo>
                  <a:cubicBezTo>
                    <a:pt x="33" y="45"/>
                    <a:pt x="32" y="43"/>
                    <a:pt x="31" y="43"/>
                  </a:cubicBezTo>
                  <a:cubicBezTo>
                    <a:pt x="33" y="41"/>
                    <a:pt x="37" y="43"/>
                    <a:pt x="37" y="39"/>
                  </a:cubicBezTo>
                  <a:cubicBezTo>
                    <a:pt x="38" y="39"/>
                    <a:pt x="38" y="40"/>
                    <a:pt x="40" y="40"/>
                  </a:cubicBezTo>
                  <a:cubicBezTo>
                    <a:pt x="42" y="40"/>
                    <a:pt x="39" y="34"/>
                    <a:pt x="43" y="36"/>
                  </a:cubicBezTo>
                  <a:cubicBezTo>
                    <a:pt x="42" y="31"/>
                    <a:pt x="43" y="32"/>
                    <a:pt x="43" y="27"/>
                  </a:cubicBezTo>
                  <a:cubicBezTo>
                    <a:pt x="46" y="27"/>
                    <a:pt x="48" y="28"/>
                    <a:pt x="50" y="29"/>
                  </a:cubicBezTo>
                  <a:cubicBezTo>
                    <a:pt x="51" y="28"/>
                    <a:pt x="51" y="26"/>
                    <a:pt x="54" y="27"/>
                  </a:cubicBezTo>
                  <a:cubicBezTo>
                    <a:pt x="52" y="24"/>
                    <a:pt x="57" y="22"/>
                    <a:pt x="54" y="22"/>
                  </a:cubicBezTo>
                  <a:cubicBezTo>
                    <a:pt x="54" y="21"/>
                    <a:pt x="56" y="21"/>
                    <a:pt x="56" y="19"/>
                  </a:cubicBezTo>
                  <a:cubicBezTo>
                    <a:pt x="60" y="19"/>
                    <a:pt x="57" y="14"/>
                    <a:pt x="62" y="16"/>
                  </a:cubicBezTo>
                  <a:cubicBezTo>
                    <a:pt x="63" y="15"/>
                    <a:pt x="64" y="14"/>
                    <a:pt x="65" y="13"/>
                  </a:cubicBezTo>
                  <a:cubicBezTo>
                    <a:pt x="67" y="14"/>
                    <a:pt x="69" y="14"/>
                    <a:pt x="71" y="14"/>
                  </a:cubicBezTo>
                  <a:cubicBezTo>
                    <a:pt x="69" y="16"/>
                    <a:pt x="72" y="15"/>
                    <a:pt x="72" y="16"/>
                  </a:cubicBezTo>
                  <a:cubicBezTo>
                    <a:pt x="73" y="16"/>
                    <a:pt x="72" y="17"/>
                    <a:pt x="72" y="17"/>
                  </a:cubicBezTo>
                  <a:cubicBezTo>
                    <a:pt x="73" y="18"/>
                    <a:pt x="75" y="17"/>
                    <a:pt x="75" y="17"/>
                  </a:cubicBezTo>
                  <a:cubicBezTo>
                    <a:pt x="75" y="18"/>
                    <a:pt x="76" y="21"/>
                    <a:pt x="80" y="20"/>
                  </a:cubicBezTo>
                  <a:cubicBezTo>
                    <a:pt x="81" y="20"/>
                    <a:pt x="80" y="14"/>
                    <a:pt x="77" y="15"/>
                  </a:cubicBezTo>
                  <a:cubicBezTo>
                    <a:pt x="78" y="14"/>
                    <a:pt x="79" y="13"/>
                    <a:pt x="81" y="13"/>
                  </a:cubicBezTo>
                  <a:cubicBezTo>
                    <a:pt x="81" y="10"/>
                    <a:pt x="82" y="8"/>
                    <a:pt x="85" y="8"/>
                  </a:cubicBezTo>
                  <a:cubicBezTo>
                    <a:pt x="85" y="5"/>
                    <a:pt x="86" y="4"/>
                    <a:pt x="89" y="4"/>
                  </a:cubicBezTo>
                  <a:cubicBezTo>
                    <a:pt x="87" y="8"/>
                    <a:pt x="88" y="6"/>
                    <a:pt x="91" y="6"/>
                  </a:cubicBezTo>
                  <a:cubicBezTo>
                    <a:pt x="96" y="0"/>
                    <a:pt x="106" y="6"/>
                    <a:pt x="113" y="6"/>
                  </a:cubicBezTo>
                  <a:close/>
                </a:path>
              </a:pathLst>
            </a:custGeom>
            <a:grpFill/>
            <a:ln w="12700">
              <a:noFill/>
              <a:round/>
            </a:ln>
            <a:effectLst/>
          </p:spPr>
          <p:txBody>
            <a:bodyPr rtlCol="0" anchor="ctr"/>
            <a:lstStyle/>
            <a:p>
              <a:pPr algn="ctr"/>
              <a:endParaRPr lang="zh-CN" altLang="en-US" sz="1600" kern="0">
                <a:solidFill>
                  <a:srgbClr val="1F223E"/>
                </a:solidFill>
                <a:latin typeface="Broadway" panose="04040905080B02020502" pitchFamily="82" charset="0"/>
              </a:endParaRPr>
            </a:p>
          </p:txBody>
        </p:sp>
      </p:grpSp>
      <p:grpSp>
        <p:nvGrpSpPr>
          <p:cNvPr id="120" name="组合 119"/>
          <p:cNvGrpSpPr/>
          <p:nvPr/>
        </p:nvGrpSpPr>
        <p:grpSpPr>
          <a:xfrm>
            <a:off x="1235381" y="1613123"/>
            <a:ext cx="2328507" cy="1760334"/>
            <a:chOff x="1235381" y="1613123"/>
            <a:chExt cx="2328507" cy="1760334"/>
          </a:xfrm>
        </p:grpSpPr>
        <p:sp>
          <p:nvSpPr>
            <p:cNvPr id="111" name="TextBox 110"/>
            <p:cNvSpPr txBox="1"/>
            <p:nvPr/>
          </p:nvSpPr>
          <p:spPr>
            <a:xfrm>
              <a:off x="1235381" y="1613123"/>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sp>
          <p:nvSpPr>
            <p:cNvPr id="112" name="TextBox 111"/>
            <p:cNvSpPr txBox="1"/>
            <p:nvPr/>
          </p:nvSpPr>
          <p:spPr>
            <a:xfrm>
              <a:off x="1235381" y="1925639"/>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sp>
          <p:nvSpPr>
            <p:cNvPr id="113" name="TextBox 112"/>
            <p:cNvSpPr txBox="1"/>
            <p:nvPr/>
          </p:nvSpPr>
          <p:spPr>
            <a:xfrm>
              <a:off x="1235381" y="2210591"/>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sp>
          <p:nvSpPr>
            <p:cNvPr id="114" name="TextBox 113"/>
            <p:cNvSpPr txBox="1"/>
            <p:nvPr/>
          </p:nvSpPr>
          <p:spPr>
            <a:xfrm>
              <a:off x="1235381" y="2498990"/>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sp>
          <p:nvSpPr>
            <p:cNvPr id="115" name="TextBox 114"/>
            <p:cNvSpPr txBox="1"/>
            <p:nvPr/>
          </p:nvSpPr>
          <p:spPr>
            <a:xfrm>
              <a:off x="1235381" y="2811506"/>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sp>
          <p:nvSpPr>
            <p:cNvPr id="116" name="TextBox 115"/>
            <p:cNvSpPr txBox="1"/>
            <p:nvPr/>
          </p:nvSpPr>
          <p:spPr>
            <a:xfrm>
              <a:off x="1235381" y="3096458"/>
              <a:ext cx="2328507" cy="276999"/>
            </a:xfrm>
            <a:prstGeom prst="rect">
              <a:avLst/>
            </a:prstGeom>
            <a:noFill/>
          </p:spPr>
          <p:txBody>
            <a:bodyPr wrap="square" rtlCol="0">
              <a:spAutoFit/>
            </a:bodyPr>
            <a:lstStyle/>
            <a:p>
              <a:r>
                <a:rPr lang="zh-CN" altLang="en-US" sz="1200" dirty="0">
                  <a:solidFill>
                    <a:srgbClr val="8E8E8E"/>
                  </a:solidFill>
                  <a:latin typeface="微软雅黑" panose="020B0503020204020204" pitchFamily="34" charset="-122"/>
                  <a:ea typeface="微软雅黑" panose="020B0503020204020204" pitchFamily="34" charset="-122"/>
                </a:rPr>
                <a:t>单击此处添加文本</a:t>
              </a:r>
            </a:p>
          </p:txBody>
        </p:sp>
      </p:grpSp>
      <p:sp>
        <p:nvSpPr>
          <p:cNvPr id="117" name="TextBox 116"/>
          <p:cNvSpPr txBox="1"/>
          <p:nvPr/>
        </p:nvSpPr>
        <p:spPr>
          <a:xfrm>
            <a:off x="1163373" y="1131590"/>
            <a:ext cx="2760555" cy="461665"/>
          </a:xfrm>
          <a:prstGeom prst="rect">
            <a:avLst/>
          </a:prstGeom>
          <a:noFill/>
        </p:spPr>
        <p:txBody>
          <a:bodyPr wrap="square" rtlCol="0">
            <a:spAutoFit/>
          </a:bodyPr>
          <a:lstStyle/>
          <a:p>
            <a:r>
              <a:rPr lang="zh-CN" altLang="en-US" sz="2400" b="1" dirty="0">
                <a:solidFill>
                  <a:schemeClr val="accent1"/>
                </a:solidFill>
                <a:latin typeface="微软雅黑" panose="020B0503020204020204" pitchFamily="34" charset="-122"/>
                <a:ea typeface="微软雅黑" panose="020B0503020204020204" pitchFamily="34" charset="-122"/>
              </a:rPr>
              <a:t>单击此处添加文本</a:t>
            </a:r>
          </a:p>
        </p:txBody>
      </p:sp>
      <p:sp>
        <p:nvSpPr>
          <p:cNvPr id="125" name="椭圆 124"/>
          <p:cNvSpPr/>
          <p:nvPr/>
        </p:nvSpPr>
        <p:spPr>
          <a:xfrm>
            <a:off x="5499031" y="1683413"/>
            <a:ext cx="796994" cy="796994"/>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1</a:t>
            </a:r>
            <a:endParaRPr lang="zh-CN" altLang="en-US" dirty="0"/>
          </a:p>
        </p:txBody>
      </p:sp>
      <p:sp>
        <p:nvSpPr>
          <p:cNvPr id="126" name="椭圆 125"/>
          <p:cNvSpPr/>
          <p:nvPr/>
        </p:nvSpPr>
        <p:spPr>
          <a:xfrm>
            <a:off x="4435377" y="2190146"/>
            <a:ext cx="412848" cy="412848"/>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5</a:t>
            </a:r>
            <a:endParaRPr lang="zh-CN" altLang="en-US" dirty="0"/>
          </a:p>
        </p:txBody>
      </p:sp>
      <p:sp>
        <p:nvSpPr>
          <p:cNvPr id="127" name="椭圆 126"/>
          <p:cNvSpPr/>
          <p:nvPr/>
        </p:nvSpPr>
        <p:spPr>
          <a:xfrm>
            <a:off x="4781752" y="1554926"/>
            <a:ext cx="483424" cy="483424"/>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3</a:t>
            </a:r>
            <a:endParaRPr lang="zh-CN" altLang="en-US" dirty="0"/>
          </a:p>
        </p:txBody>
      </p:sp>
      <p:sp>
        <p:nvSpPr>
          <p:cNvPr id="128" name="椭圆 127"/>
          <p:cNvSpPr/>
          <p:nvPr/>
        </p:nvSpPr>
        <p:spPr>
          <a:xfrm>
            <a:off x="7422771" y="1756454"/>
            <a:ext cx="576064" cy="576064"/>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2</a:t>
            </a:r>
            <a:endParaRPr lang="zh-CN" altLang="en-US" dirty="0"/>
          </a:p>
        </p:txBody>
      </p:sp>
      <p:sp>
        <p:nvSpPr>
          <p:cNvPr id="129" name="椭圆 128"/>
          <p:cNvSpPr/>
          <p:nvPr/>
        </p:nvSpPr>
        <p:spPr>
          <a:xfrm>
            <a:off x="7988988" y="2654249"/>
            <a:ext cx="393012" cy="393012"/>
          </a:xfrm>
          <a:prstGeom prst="ellipse">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4</a:t>
            </a:r>
            <a:endParaRPr lang="zh-CN" altLang="en-US" dirty="0"/>
          </a:p>
        </p:txBody>
      </p:sp>
      <p:sp>
        <p:nvSpPr>
          <p:cNvPr id="130" name="矩形 129"/>
          <p:cNvSpPr/>
          <p:nvPr/>
        </p:nvSpPr>
        <p:spPr>
          <a:xfrm>
            <a:off x="0" y="3651870"/>
            <a:ext cx="9144000" cy="14916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9" name="组合 118"/>
          <p:cNvGrpSpPr/>
          <p:nvPr/>
        </p:nvGrpSpPr>
        <p:grpSpPr>
          <a:xfrm>
            <a:off x="539552" y="3952676"/>
            <a:ext cx="8224425" cy="923330"/>
            <a:chOff x="539552" y="3952676"/>
            <a:chExt cx="8224425" cy="923330"/>
          </a:xfrm>
        </p:grpSpPr>
        <p:pic>
          <p:nvPicPr>
            <p:cNvPr id="131" name="Picture 18" descr="C:\Users\ABC\Desktop\lcd.png"/>
            <p:cNvPicPr>
              <a:picLocks noChangeAspect="1" noChangeArrowheads="1"/>
            </p:cNvPicPr>
            <p:nvPr/>
          </p:nvPicPr>
          <p:blipFill>
            <a:blip r:embed="rId3" cstate="screen">
              <a:biLevel thresh="25000"/>
            </a:blip>
            <a:srcRect/>
            <a:stretch>
              <a:fillRect/>
            </a:stretch>
          </p:blipFill>
          <p:spPr bwMode="auto">
            <a:xfrm>
              <a:off x="539552" y="4023499"/>
              <a:ext cx="505241" cy="505241"/>
            </a:xfrm>
            <a:prstGeom prst="rect">
              <a:avLst/>
            </a:prstGeom>
            <a:noFill/>
            <a:extLst>
              <a:ext uri="{909E8E84-426E-40DD-AFC4-6F175D3DCCD1}">
                <a14:hiddenFill xmlns:a14="http://schemas.microsoft.com/office/drawing/2010/main">
                  <a:solidFill>
                    <a:srgbClr val="FFFFFF"/>
                  </a:solidFill>
                </a14:hiddenFill>
              </a:ext>
            </a:extLst>
          </p:spPr>
        </p:pic>
        <p:sp>
          <p:nvSpPr>
            <p:cNvPr id="134" name="TextBox 133"/>
            <p:cNvSpPr txBox="1"/>
            <p:nvPr/>
          </p:nvSpPr>
          <p:spPr>
            <a:xfrm>
              <a:off x="1116802" y="3952676"/>
              <a:ext cx="1800199" cy="923330"/>
            </a:xfrm>
            <a:prstGeom prst="rect">
              <a:avLst/>
            </a:prstGeom>
            <a:noFill/>
          </p:spPr>
          <p:txBody>
            <a:bodyPr wrap="square" rtlCol="0">
              <a:spAutoFit/>
            </a:bodyPr>
            <a:lstStyle/>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35" name="矩形 134"/>
            <p:cNvSpPr/>
            <p:nvPr/>
          </p:nvSpPr>
          <p:spPr>
            <a:xfrm>
              <a:off x="6157361" y="4069702"/>
              <a:ext cx="45719"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6" name="矩形 135"/>
            <p:cNvSpPr/>
            <p:nvPr/>
          </p:nvSpPr>
          <p:spPr>
            <a:xfrm>
              <a:off x="3111557" y="4069702"/>
              <a:ext cx="45719" cy="720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0" name="TextBox 139"/>
            <p:cNvSpPr txBox="1"/>
            <p:nvPr/>
          </p:nvSpPr>
          <p:spPr>
            <a:xfrm>
              <a:off x="4040290" y="3952676"/>
              <a:ext cx="1800199" cy="923330"/>
            </a:xfrm>
            <a:prstGeom prst="rect">
              <a:avLst/>
            </a:prstGeom>
            <a:noFill/>
          </p:spPr>
          <p:txBody>
            <a:bodyPr wrap="square" rtlCol="0">
              <a:spAutoFit/>
            </a:bodyPr>
            <a:lstStyle/>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43" name="TextBox 142"/>
            <p:cNvSpPr txBox="1"/>
            <p:nvPr/>
          </p:nvSpPr>
          <p:spPr>
            <a:xfrm>
              <a:off x="6963778" y="3952676"/>
              <a:ext cx="1800199" cy="923330"/>
            </a:xfrm>
            <a:prstGeom prst="rect">
              <a:avLst/>
            </a:prstGeom>
            <a:noFill/>
          </p:spPr>
          <p:txBody>
            <a:bodyPr wrap="square" rtlCol="0">
              <a:spAutoFit/>
            </a:bodyPr>
            <a:lstStyle/>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endParaRPr lang="en-US" altLang="zh-CN" sz="1200" dirty="0">
                <a:solidFill>
                  <a:schemeClr val="bg1"/>
                </a:solidFill>
                <a:latin typeface="微软雅黑" panose="020B0503020204020204" pitchFamily="34" charset="-122"/>
                <a:ea typeface="微软雅黑" panose="020B0503020204020204" pitchFamily="34" charset="-122"/>
              </a:endParaRP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a:p>
              <a:pPr>
                <a:lnSpc>
                  <a:spcPct val="150000"/>
                </a:lnSpc>
              </a:pPr>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pic>
          <p:nvPicPr>
            <p:cNvPr id="144" name="Picture 17" descr="C:\Users\ABC\Desktop\pen.png"/>
            <p:cNvPicPr>
              <a:picLocks noChangeAspect="1" noChangeArrowheads="1"/>
            </p:cNvPicPr>
            <p:nvPr/>
          </p:nvPicPr>
          <p:blipFill>
            <a:blip r:embed="rId4" cstate="screen">
              <a:biLevel thresh="25000"/>
            </a:blip>
            <a:srcRect/>
            <a:stretch>
              <a:fillRect/>
            </a:stretch>
          </p:blipFill>
          <p:spPr bwMode="auto">
            <a:xfrm>
              <a:off x="3475408" y="4048507"/>
              <a:ext cx="529168" cy="529168"/>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15" descr="C:\Users\ABC\Desktop\users.png"/>
            <p:cNvPicPr>
              <a:picLocks noChangeAspect="1" noChangeArrowheads="1"/>
            </p:cNvPicPr>
            <p:nvPr/>
          </p:nvPicPr>
          <p:blipFill>
            <a:blip r:embed="rId5" cstate="screen">
              <a:biLevel thresh="25000"/>
            </a:blip>
            <a:srcRect/>
            <a:stretch>
              <a:fillRect/>
            </a:stretch>
          </p:blipFill>
          <p:spPr bwMode="auto">
            <a:xfrm>
              <a:off x="6448798" y="4048507"/>
              <a:ext cx="452760" cy="452760"/>
            </a:xfrm>
            <a:prstGeom prst="rect">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transition spd="slow" advTm="4792">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125"/>
                                        </p:tgtEl>
                                        <p:attrNameLst>
                                          <p:attrName>style.visibility</p:attrName>
                                        </p:attrNameLst>
                                      </p:cBhvr>
                                      <p:to>
                                        <p:strVal val="visible"/>
                                      </p:to>
                                    </p:set>
                                    <p:anim calcmode="lin" valueType="num">
                                      <p:cBhvr>
                                        <p:cTn id="13" dur="500" fill="hold"/>
                                        <p:tgtEl>
                                          <p:spTgt spid="125"/>
                                        </p:tgtEl>
                                        <p:attrNameLst>
                                          <p:attrName>ppt_w</p:attrName>
                                        </p:attrNameLst>
                                      </p:cBhvr>
                                      <p:tavLst>
                                        <p:tav tm="0">
                                          <p:val>
                                            <p:fltVal val="0"/>
                                          </p:val>
                                        </p:tav>
                                        <p:tav tm="100000">
                                          <p:val>
                                            <p:strVal val="#ppt_w"/>
                                          </p:val>
                                        </p:tav>
                                      </p:tavLst>
                                    </p:anim>
                                    <p:anim calcmode="lin" valueType="num">
                                      <p:cBhvr>
                                        <p:cTn id="14" dur="500" fill="hold"/>
                                        <p:tgtEl>
                                          <p:spTgt spid="125"/>
                                        </p:tgtEl>
                                        <p:attrNameLst>
                                          <p:attrName>ppt_h</p:attrName>
                                        </p:attrNameLst>
                                      </p:cBhvr>
                                      <p:tavLst>
                                        <p:tav tm="0">
                                          <p:val>
                                            <p:fltVal val="0"/>
                                          </p:val>
                                        </p:tav>
                                        <p:tav tm="100000">
                                          <p:val>
                                            <p:strVal val="#ppt_h"/>
                                          </p:val>
                                        </p:tav>
                                      </p:tavLst>
                                    </p:anim>
                                    <p:animEffect transition="in" filter="fade">
                                      <p:cBhvr>
                                        <p:cTn id="15" dur="500"/>
                                        <p:tgtEl>
                                          <p:spTgt spid="125"/>
                                        </p:tgtEl>
                                      </p:cBhvr>
                                    </p:animEffect>
                                  </p:childTnLst>
                                </p:cTn>
                              </p:par>
                              <p:par>
                                <p:cTn id="16" presetID="53" presetClass="entr" presetSubtype="16" fill="hold" grpId="0" nodeType="withEffect">
                                  <p:stCondLst>
                                    <p:cond delay="200"/>
                                  </p:stCondLst>
                                  <p:childTnLst>
                                    <p:set>
                                      <p:cBhvr>
                                        <p:cTn id="17" dur="1" fill="hold">
                                          <p:stCondLst>
                                            <p:cond delay="0"/>
                                          </p:stCondLst>
                                        </p:cTn>
                                        <p:tgtEl>
                                          <p:spTgt spid="128"/>
                                        </p:tgtEl>
                                        <p:attrNameLst>
                                          <p:attrName>style.visibility</p:attrName>
                                        </p:attrNameLst>
                                      </p:cBhvr>
                                      <p:to>
                                        <p:strVal val="visible"/>
                                      </p:to>
                                    </p:set>
                                    <p:anim calcmode="lin" valueType="num">
                                      <p:cBhvr>
                                        <p:cTn id="18" dur="500" fill="hold"/>
                                        <p:tgtEl>
                                          <p:spTgt spid="128"/>
                                        </p:tgtEl>
                                        <p:attrNameLst>
                                          <p:attrName>ppt_w</p:attrName>
                                        </p:attrNameLst>
                                      </p:cBhvr>
                                      <p:tavLst>
                                        <p:tav tm="0">
                                          <p:val>
                                            <p:fltVal val="0"/>
                                          </p:val>
                                        </p:tav>
                                        <p:tav tm="100000">
                                          <p:val>
                                            <p:strVal val="#ppt_w"/>
                                          </p:val>
                                        </p:tav>
                                      </p:tavLst>
                                    </p:anim>
                                    <p:anim calcmode="lin" valueType="num">
                                      <p:cBhvr>
                                        <p:cTn id="19" dur="500" fill="hold"/>
                                        <p:tgtEl>
                                          <p:spTgt spid="128"/>
                                        </p:tgtEl>
                                        <p:attrNameLst>
                                          <p:attrName>ppt_h</p:attrName>
                                        </p:attrNameLst>
                                      </p:cBhvr>
                                      <p:tavLst>
                                        <p:tav tm="0">
                                          <p:val>
                                            <p:fltVal val="0"/>
                                          </p:val>
                                        </p:tav>
                                        <p:tav tm="100000">
                                          <p:val>
                                            <p:strVal val="#ppt_h"/>
                                          </p:val>
                                        </p:tav>
                                      </p:tavLst>
                                    </p:anim>
                                    <p:animEffect transition="in" filter="fade">
                                      <p:cBhvr>
                                        <p:cTn id="20" dur="500"/>
                                        <p:tgtEl>
                                          <p:spTgt spid="128"/>
                                        </p:tgtEl>
                                      </p:cBhvr>
                                    </p:animEffect>
                                  </p:childTnLst>
                                </p:cTn>
                              </p:par>
                              <p:par>
                                <p:cTn id="21" presetID="53" presetClass="entr" presetSubtype="16" fill="hold" grpId="0" nodeType="withEffect">
                                  <p:stCondLst>
                                    <p:cond delay="400"/>
                                  </p:stCondLst>
                                  <p:childTnLst>
                                    <p:set>
                                      <p:cBhvr>
                                        <p:cTn id="22" dur="1" fill="hold">
                                          <p:stCondLst>
                                            <p:cond delay="0"/>
                                          </p:stCondLst>
                                        </p:cTn>
                                        <p:tgtEl>
                                          <p:spTgt spid="127"/>
                                        </p:tgtEl>
                                        <p:attrNameLst>
                                          <p:attrName>style.visibility</p:attrName>
                                        </p:attrNameLst>
                                      </p:cBhvr>
                                      <p:to>
                                        <p:strVal val="visible"/>
                                      </p:to>
                                    </p:set>
                                    <p:anim calcmode="lin" valueType="num">
                                      <p:cBhvr>
                                        <p:cTn id="23" dur="500" fill="hold"/>
                                        <p:tgtEl>
                                          <p:spTgt spid="127"/>
                                        </p:tgtEl>
                                        <p:attrNameLst>
                                          <p:attrName>ppt_w</p:attrName>
                                        </p:attrNameLst>
                                      </p:cBhvr>
                                      <p:tavLst>
                                        <p:tav tm="0">
                                          <p:val>
                                            <p:fltVal val="0"/>
                                          </p:val>
                                        </p:tav>
                                        <p:tav tm="100000">
                                          <p:val>
                                            <p:strVal val="#ppt_w"/>
                                          </p:val>
                                        </p:tav>
                                      </p:tavLst>
                                    </p:anim>
                                    <p:anim calcmode="lin" valueType="num">
                                      <p:cBhvr>
                                        <p:cTn id="24" dur="500" fill="hold"/>
                                        <p:tgtEl>
                                          <p:spTgt spid="127"/>
                                        </p:tgtEl>
                                        <p:attrNameLst>
                                          <p:attrName>ppt_h</p:attrName>
                                        </p:attrNameLst>
                                      </p:cBhvr>
                                      <p:tavLst>
                                        <p:tav tm="0">
                                          <p:val>
                                            <p:fltVal val="0"/>
                                          </p:val>
                                        </p:tav>
                                        <p:tav tm="100000">
                                          <p:val>
                                            <p:strVal val="#ppt_h"/>
                                          </p:val>
                                        </p:tav>
                                      </p:tavLst>
                                    </p:anim>
                                    <p:animEffect transition="in" filter="fade">
                                      <p:cBhvr>
                                        <p:cTn id="25" dur="500"/>
                                        <p:tgtEl>
                                          <p:spTgt spid="127"/>
                                        </p:tgtEl>
                                      </p:cBhvr>
                                    </p:animEffect>
                                  </p:childTnLst>
                                </p:cTn>
                              </p:par>
                              <p:par>
                                <p:cTn id="26" presetID="53" presetClass="entr" presetSubtype="16" fill="hold" grpId="0" nodeType="withEffect">
                                  <p:stCondLst>
                                    <p:cond delay="500"/>
                                  </p:stCondLst>
                                  <p:childTnLst>
                                    <p:set>
                                      <p:cBhvr>
                                        <p:cTn id="27" dur="1" fill="hold">
                                          <p:stCondLst>
                                            <p:cond delay="0"/>
                                          </p:stCondLst>
                                        </p:cTn>
                                        <p:tgtEl>
                                          <p:spTgt spid="126"/>
                                        </p:tgtEl>
                                        <p:attrNameLst>
                                          <p:attrName>style.visibility</p:attrName>
                                        </p:attrNameLst>
                                      </p:cBhvr>
                                      <p:to>
                                        <p:strVal val="visible"/>
                                      </p:to>
                                    </p:set>
                                    <p:anim calcmode="lin" valueType="num">
                                      <p:cBhvr>
                                        <p:cTn id="28" dur="500" fill="hold"/>
                                        <p:tgtEl>
                                          <p:spTgt spid="126"/>
                                        </p:tgtEl>
                                        <p:attrNameLst>
                                          <p:attrName>ppt_w</p:attrName>
                                        </p:attrNameLst>
                                      </p:cBhvr>
                                      <p:tavLst>
                                        <p:tav tm="0">
                                          <p:val>
                                            <p:fltVal val="0"/>
                                          </p:val>
                                        </p:tav>
                                        <p:tav tm="100000">
                                          <p:val>
                                            <p:strVal val="#ppt_w"/>
                                          </p:val>
                                        </p:tav>
                                      </p:tavLst>
                                    </p:anim>
                                    <p:anim calcmode="lin" valueType="num">
                                      <p:cBhvr>
                                        <p:cTn id="29" dur="500" fill="hold"/>
                                        <p:tgtEl>
                                          <p:spTgt spid="126"/>
                                        </p:tgtEl>
                                        <p:attrNameLst>
                                          <p:attrName>ppt_h</p:attrName>
                                        </p:attrNameLst>
                                      </p:cBhvr>
                                      <p:tavLst>
                                        <p:tav tm="0">
                                          <p:val>
                                            <p:fltVal val="0"/>
                                          </p:val>
                                        </p:tav>
                                        <p:tav tm="100000">
                                          <p:val>
                                            <p:strVal val="#ppt_h"/>
                                          </p:val>
                                        </p:tav>
                                      </p:tavLst>
                                    </p:anim>
                                    <p:animEffect transition="in" filter="fade">
                                      <p:cBhvr>
                                        <p:cTn id="30" dur="500"/>
                                        <p:tgtEl>
                                          <p:spTgt spid="126"/>
                                        </p:tgtEl>
                                      </p:cBhvr>
                                    </p:animEffect>
                                  </p:childTnLst>
                                </p:cTn>
                              </p:par>
                              <p:par>
                                <p:cTn id="31" presetID="53" presetClass="entr" presetSubtype="16" fill="hold" grpId="0" nodeType="withEffect">
                                  <p:stCondLst>
                                    <p:cond delay="600"/>
                                  </p:stCondLst>
                                  <p:childTnLst>
                                    <p:set>
                                      <p:cBhvr>
                                        <p:cTn id="32" dur="1" fill="hold">
                                          <p:stCondLst>
                                            <p:cond delay="0"/>
                                          </p:stCondLst>
                                        </p:cTn>
                                        <p:tgtEl>
                                          <p:spTgt spid="129"/>
                                        </p:tgtEl>
                                        <p:attrNameLst>
                                          <p:attrName>style.visibility</p:attrName>
                                        </p:attrNameLst>
                                      </p:cBhvr>
                                      <p:to>
                                        <p:strVal val="visible"/>
                                      </p:to>
                                    </p:set>
                                    <p:anim calcmode="lin" valueType="num">
                                      <p:cBhvr>
                                        <p:cTn id="33" dur="500" fill="hold"/>
                                        <p:tgtEl>
                                          <p:spTgt spid="129"/>
                                        </p:tgtEl>
                                        <p:attrNameLst>
                                          <p:attrName>ppt_w</p:attrName>
                                        </p:attrNameLst>
                                      </p:cBhvr>
                                      <p:tavLst>
                                        <p:tav tm="0">
                                          <p:val>
                                            <p:fltVal val="0"/>
                                          </p:val>
                                        </p:tav>
                                        <p:tav tm="100000">
                                          <p:val>
                                            <p:strVal val="#ppt_w"/>
                                          </p:val>
                                        </p:tav>
                                      </p:tavLst>
                                    </p:anim>
                                    <p:anim calcmode="lin" valueType="num">
                                      <p:cBhvr>
                                        <p:cTn id="34" dur="500" fill="hold"/>
                                        <p:tgtEl>
                                          <p:spTgt spid="129"/>
                                        </p:tgtEl>
                                        <p:attrNameLst>
                                          <p:attrName>ppt_h</p:attrName>
                                        </p:attrNameLst>
                                      </p:cBhvr>
                                      <p:tavLst>
                                        <p:tav tm="0">
                                          <p:val>
                                            <p:fltVal val="0"/>
                                          </p:val>
                                        </p:tav>
                                        <p:tav tm="100000">
                                          <p:val>
                                            <p:strVal val="#ppt_h"/>
                                          </p:val>
                                        </p:tav>
                                      </p:tavLst>
                                    </p:anim>
                                    <p:animEffect transition="in" filter="fade">
                                      <p:cBhvr>
                                        <p:cTn id="35" dur="500"/>
                                        <p:tgtEl>
                                          <p:spTgt spid="129"/>
                                        </p:tgtEl>
                                      </p:cBhvr>
                                    </p:animEffect>
                                  </p:childTnLst>
                                </p:cTn>
                              </p:par>
                            </p:childTnLst>
                          </p:cTn>
                        </p:par>
                        <p:par>
                          <p:cTn id="36" fill="hold">
                            <p:stCondLst>
                              <p:cond delay="1000"/>
                            </p:stCondLst>
                            <p:childTnLst>
                              <p:par>
                                <p:cTn id="37" presetID="2" presetClass="entr" presetSubtype="8" fill="hold" grpId="0" nodeType="afterEffect">
                                  <p:stCondLst>
                                    <p:cond delay="0"/>
                                  </p:stCondLst>
                                  <p:childTnLst>
                                    <p:set>
                                      <p:cBhvr>
                                        <p:cTn id="38" dur="1" fill="hold">
                                          <p:stCondLst>
                                            <p:cond delay="0"/>
                                          </p:stCondLst>
                                        </p:cTn>
                                        <p:tgtEl>
                                          <p:spTgt spid="117"/>
                                        </p:tgtEl>
                                        <p:attrNameLst>
                                          <p:attrName>style.visibility</p:attrName>
                                        </p:attrNameLst>
                                      </p:cBhvr>
                                      <p:to>
                                        <p:strVal val="visible"/>
                                      </p:to>
                                    </p:set>
                                    <p:anim calcmode="lin" valueType="num">
                                      <p:cBhvr additive="base">
                                        <p:cTn id="39" dur="500" fill="hold"/>
                                        <p:tgtEl>
                                          <p:spTgt spid="117"/>
                                        </p:tgtEl>
                                        <p:attrNameLst>
                                          <p:attrName>ppt_x</p:attrName>
                                        </p:attrNameLst>
                                      </p:cBhvr>
                                      <p:tavLst>
                                        <p:tav tm="0">
                                          <p:val>
                                            <p:strVal val="0-#ppt_w/2"/>
                                          </p:val>
                                        </p:tav>
                                        <p:tav tm="100000">
                                          <p:val>
                                            <p:strVal val="#ppt_x"/>
                                          </p:val>
                                        </p:tav>
                                      </p:tavLst>
                                    </p:anim>
                                    <p:anim calcmode="lin" valueType="num">
                                      <p:cBhvr additive="base">
                                        <p:cTn id="40" dur="500" fill="hold"/>
                                        <p:tgtEl>
                                          <p:spTgt spid="117"/>
                                        </p:tgtEl>
                                        <p:attrNameLst>
                                          <p:attrName>ppt_y</p:attrName>
                                        </p:attrNameLst>
                                      </p:cBhvr>
                                      <p:tavLst>
                                        <p:tav tm="0">
                                          <p:val>
                                            <p:strVal val="#ppt_y"/>
                                          </p:val>
                                        </p:tav>
                                        <p:tav tm="100000">
                                          <p:val>
                                            <p:strVal val="#ppt_y"/>
                                          </p:val>
                                        </p:tav>
                                      </p:tavLst>
                                    </p:anim>
                                  </p:childTnLst>
                                </p:cTn>
                              </p:par>
                            </p:childTnLst>
                          </p:cTn>
                        </p:par>
                        <p:par>
                          <p:cTn id="41" fill="hold">
                            <p:stCondLst>
                              <p:cond delay="1500"/>
                            </p:stCondLst>
                            <p:childTnLst>
                              <p:par>
                                <p:cTn id="42" presetID="22" presetClass="entr" presetSubtype="1" fill="hold" nodeType="afterEffect">
                                  <p:stCondLst>
                                    <p:cond delay="0"/>
                                  </p:stCondLst>
                                  <p:childTnLst>
                                    <p:set>
                                      <p:cBhvr>
                                        <p:cTn id="43" dur="1" fill="hold">
                                          <p:stCondLst>
                                            <p:cond delay="0"/>
                                          </p:stCondLst>
                                        </p:cTn>
                                        <p:tgtEl>
                                          <p:spTgt spid="120"/>
                                        </p:tgtEl>
                                        <p:attrNameLst>
                                          <p:attrName>style.visibility</p:attrName>
                                        </p:attrNameLst>
                                      </p:cBhvr>
                                      <p:to>
                                        <p:strVal val="visible"/>
                                      </p:to>
                                    </p:set>
                                    <p:animEffect transition="in" filter="wipe(up)">
                                      <p:cBhvr>
                                        <p:cTn id="44" dur="500"/>
                                        <p:tgtEl>
                                          <p:spTgt spid="120"/>
                                        </p:tgtEl>
                                      </p:cBhvr>
                                    </p:animEffect>
                                  </p:childTnLst>
                                </p:cTn>
                              </p:par>
                            </p:childTnLst>
                          </p:cTn>
                        </p:par>
                        <p:par>
                          <p:cTn id="45" fill="hold">
                            <p:stCondLst>
                              <p:cond delay="2000"/>
                            </p:stCondLst>
                            <p:childTnLst>
                              <p:par>
                                <p:cTn id="46" presetID="22" presetClass="entr" presetSubtype="1" fill="hold" grpId="0" nodeType="afterEffect">
                                  <p:stCondLst>
                                    <p:cond delay="0"/>
                                  </p:stCondLst>
                                  <p:childTnLst>
                                    <p:set>
                                      <p:cBhvr>
                                        <p:cTn id="47" dur="1" fill="hold">
                                          <p:stCondLst>
                                            <p:cond delay="0"/>
                                          </p:stCondLst>
                                        </p:cTn>
                                        <p:tgtEl>
                                          <p:spTgt spid="130"/>
                                        </p:tgtEl>
                                        <p:attrNameLst>
                                          <p:attrName>style.visibility</p:attrName>
                                        </p:attrNameLst>
                                      </p:cBhvr>
                                      <p:to>
                                        <p:strVal val="visible"/>
                                      </p:to>
                                    </p:set>
                                    <p:animEffect transition="in" filter="wipe(up)">
                                      <p:cBhvr>
                                        <p:cTn id="48" dur="500"/>
                                        <p:tgtEl>
                                          <p:spTgt spid="130"/>
                                        </p:tgtEl>
                                      </p:cBhvr>
                                    </p:animEffect>
                                  </p:childTnLst>
                                </p:cTn>
                              </p:par>
                            </p:childTnLst>
                          </p:cTn>
                        </p:par>
                        <p:par>
                          <p:cTn id="49" fill="hold">
                            <p:stCondLst>
                              <p:cond delay="2500"/>
                            </p:stCondLst>
                            <p:childTnLst>
                              <p:par>
                                <p:cTn id="50" presetID="22" presetClass="entr" presetSubtype="8" fill="hold" nodeType="afterEffect">
                                  <p:stCondLst>
                                    <p:cond delay="0"/>
                                  </p:stCondLst>
                                  <p:childTnLst>
                                    <p:set>
                                      <p:cBhvr>
                                        <p:cTn id="51" dur="1" fill="hold">
                                          <p:stCondLst>
                                            <p:cond delay="0"/>
                                          </p:stCondLst>
                                        </p:cTn>
                                        <p:tgtEl>
                                          <p:spTgt spid="119"/>
                                        </p:tgtEl>
                                        <p:attrNameLst>
                                          <p:attrName>style.visibility</p:attrName>
                                        </p:attrNameLst>
                                      </p:cBhvr>
                                      <p:to>
                                        <p:strVal val="visible"/>
                                      </p:to>
                                    </p:set>
                                    <p:animEffect transition="in" filter="wipe(left)">
                                      <p:cBhvr>
                                        <p:cTn id="52"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7" grpId="0"/>
      <p:bldP spid="125" grpId="0" animBg="1"/>
      <p:bldP spid="126" grpId="0" animBg="1"/>
      <p:bldP spid="127" grpId="0" animBg="1"/>
      <p:bldP spid="128" grpId="0" animBg="1"/>
      <p:bldP spid="129" grpId="0" animBg="1"/>
      <p:bldP spid="13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标题 12"/>
          <p:cNvSpPr>
            <a:spLocks noGrp="1"/>
          </p:cNvSpPr>
          <p:nvPr>
            <p:ph type="title"/>
          </p:nvPr>
        </p:nvSpPr>
        <p:spPr/>
        <p:txBody>
          <a:bodyPr/>
          <a:lstStyle/>
          <a:p>
            <a:r>
              <a:rPr lang="zh-CN" altLang="en-US" dirty="0"/>
              <a:t>单击添加标题</a:t>
            </a:r>
          </a:p>
        </p:txBody>
      </p:sp>
      <p:pic>
        <p:nvPicPr>
          <p:cNvPr id="3" name="图片 2"/>
          <p:cNvPicPr>
            <a:picLocks noChangeAspect="1"/>
          </p:cNvPicPr>
          <p:nvPr/>
        </p:nvPicPr>
        <p:blipFill>
          <a:blip r:embed="rId3">
            <a:grayscl/>
          </a:blip>
          <a:stretch>
            <a:fillRect/>
          </a:stretch>
        </p:blipFill>
        <p:spPr>
          <a:xfrm>
            <a:off x="5137816" y="1703614"/>
            <a:ext cx="3538640" cy="2207479"/>
          </a:xfrm>
          <a:prstGeom prst="rect">
            <a:avLst/>
          </a:prstGeom>
          <a:noFill/>
          <a:ln>
            <a:noFill/>
          </a:ln>
        </p:spPr>
      </p:pic>
      <p:grpSp>
        <p:nvGrpSpPr>
          <p:cNvPr id="2" name="组合 1"/>
          <p:cNvGrpSpPr/>
          <p:nvPr/>
        </p:nvGrpSpPr>
        <p:grpSpPr>
          <a:xfrm>
            <a:off x="454179" y="1707654"/>
            <a:ext cx="4261837" cy="2203439"/>
            <a:chOff x="454179" y="1707654"/>
            <a:chExt cx="4261837" cy="2203439"/>
          </a:xfrm>
        </p:grpSpPr>
        <p:cxnSp>
          <p:nvCxnSpPr>
            <p:cNvPr id="4" name="直接连接符 3"/>
            <p:cNvCxnSpPr/>
            <p:nvPr/>
          </p:nvCxnSpPr>
          <p:spPr>
            <a:xfrm>
              <a:off x="2402305" y="1923678"/>
              <a:ext cx="0" cy="1584176"/>
            </a:xfrm>
            <a:prstGeom prst="line">
              <a:avLst/>
            </a:prstGeom>
            <a:ln>
              <a:solidFill>
                <a:srgbClr val="2B2B29"/>
              </a:solidFill>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454179" y="1707654"/>
              <a:ext cx="4157555" cy="220343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611560" y="2009542"/>
              <a:ext cx="2213992" cy="707886"/>
            </a:xfrm>
            <a:prstGeom prst="rect">
              <a:avLst/>
            </a:prstGeom>
          </p:spPr>
          <p:txBody>
            <a:bodyPr wrap="square">
              <a:spAutoFit/>
            </a:bodyPr>
            <a:lstStyle/>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7" name="矩形 6"/>
            <p:cNvSpPr/>
            <p:nvPr/>
          </p:nvSpPr>
          <p:spPr>
            <a:xfrm>
              <a:off x="611560" y="2871976"/>
              <a:ext cx="2213992" cy="707886"/>
            </a:xfrm>
            <a:prstGeom prst="rect">
              <a:avLst/>
            </a:prstGeom>
          </p:spPr>
          <p:txBody>
            <a:bodyPr wrap="square">
              <a:spAutoFit/>
            </a:bodyPr>
            <a:lstStyle/>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8" name="矩形 7"/>
            <p:cNvSpPr/>
            <p:nvPr/>
          </p:nvSpPr>
          <p:spPr>
            <a:xfrm>
              <a:off x="2502024" y="2020074"/>
              <a:ext cx="2213992" cy="707886"/>
            </a:xfrm>
            <a:prstGeom prst="rect">
              <a:avLst/>
            </a:prstGeom>
          </p:spPr>
          <p:txBody>
            <a:bodyPr wrap="square">
              <a:spAutoFit/>
            </a:bodyPr>
            <a:lstStyle/>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sp>
          <p:nvSpPr>
            <p:cNvPr id="9" name="矩形 8"/>
            <p:cNvSpPr/>
            <p:nvPr/>
          </p:nvSpPr>
          <p:spPr>
            <a:xfrm>
              <a:off x="2502024" y="2871976"/>
              <a:ext cx="2213992" cy="707886"/>
            </a:xfrm>
            <a:prstGeom prst="rect">
              <a:avLst/>
            </a:prstGeom>
          </p:spPr>
          <p:txBody>
            <a:bodyPr wrap="square">
              <a:spAutoFit/>
            </a:bodyPr>
            <a:lstStyle/>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a:p>
              <a:r>
                <a:rPr lang="zh-CN" altLang="en-US"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rPr>
                <a:t>单击此处添加文本单击此处添加文本</a:t>
              </a:r>
              <a:endParaRPr lang="en-US" altLang="zh-CN" sz="800" dirty="0">
                <a:solidFill>
                  <a:schemeClr val="bg1"/>
                </a:solidFill>
                <a:latin typeface="微软雅黑" panose="020B0503020204020204" pitchFamily="34" charset="-122"/>
                <a:ea typeface="微软雅黑" panose="020B0503020204020204" pitchFamily="34" charset="-122"/>
                <a:cs typeface="Calibri" panose="020F0502020204030204" pitchFamily="34" charset="0"/>
              </a:endParaRPr>
            </a:p>
          </p:txBody>
        </p:sp>
      </p:grpSp>
    </p:spTree>
  </p:cSld>
  <p:clrMapOvr>
    <a:masterClrMapping/>
  </p:clrMapOvr>
  <p:transition spd="slow" advTm="2361">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1+#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添加标题</a:t>
            </a:r>
          </a:p>
        </p:txBody>
      </p:sp>
      <p:grpSp>
        <p:nvGrpSpPr>
          <p:cNvPr id="3" name="组合 2"/>
          <p:cNvGrpSpPr/>
          <p:nvPr/>
        </p:nvGrpSpPr>
        <p:grpSpPr>
          <a:xfrm>
            <a:off x="577652" y="1419622"/>
            <a:ext cx="3762375" cy="2943225"/>
            <a:chOff x="467545" y="2357983"/>
            <a:chExt cx="3762375" cy="2943225"/>
          </a:xfrm>
        </p:grpSpPr>
        <p:sp>
          <p:nvSpPr>
            <p:cNvPr id="4" name="椭圆 3"/>
            <p:cNvSpPr/>
            <p:nvPr/>
          </p:nvSpPr>
          <p:spPr>
            <a:xfrm flipH="1">
              <a:off x="3403356" y="4943150"/>
              <a:ext cx="358056" cy="358058"/>
            </a:xfrm>
            <a:prstGeom prst="ellipse">
              <a:avLst/>
            </a:prstGeom>
            <a:no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5" name="椭圆 4"/>
            <p:cNvSpPr/>
            <p:nvPr/>
          </p:nvSpPr>
          <p:spPr>
            <a:xfrm flipH="1">
              <a:off x="1919590" y="4943150"/>
              <a:ext cx="358056" cy="358058"/>
            </a:xfrm>
            <a:prstGeom prst="ellipse">
              <a:avLst/>
            </a:prstGeom>
            <a:no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6" name="任意多边形 5"/>
            <p:cNvSpPr/>
            <p:nvPr/>
          </p:nvSpPr>
          <p:spPr>
            <a:xfrm>
              <a:off x="467545" y="2357983"/>
              <a:ext cx="3762375" cy="2524125"/>
            </a:xfrm>
            <a:custGeom>
              <a:avLst/>
              <a:gdLst>
                <a:gd name="connsiteX0" fmla="*/ 0 w 3762375"/>
                <a:gd name="connsiteY0" fmla="*/ 0 h 2524125"/>
                <a:gd name="connsiteX1" fmla="*/ 581025 w 3762375"/>
                <a:gd name="connsiteY1" fmla="*/ 0 h 2524125"/>
                <a:gd name="connsiteX2" fmla="*/ 1047750 w 3762375"/>
                <a:gd name="connsiteY2" fmla="*/ 2524125 h 2524125"/>
                <a:gd name="connsiteX3" fmla="*/ 3762375 w 3762375"/>
                <a:gd name="connsiteY3" fmla="*/ 2524125 h 2524125"/>
              </a:gdLst>
              <a:ahLst/>
              <a:cxnLst>
                <a:cxn ang="0">
                  <a:pos x="connsiteX0" y="connsiteY0"/>
                </a:cxn>
                <a:cxn ang="0">
                  <a:pos x="connsiteX1" y="connsiteY1"/>
                </a:cxn>
                <a:cxn ang="0">
                  <a:pos x="connsiteX2" y="connsiteY2"/>
                </a:cxn>
                <a:cxn ang="0">
                  <a:pos x="connsiteX3" y="connsiteY3"/>
                </a:cxn>
              </a:cxnLst>
              <a:rect l="l" t="t" r="r" b="b"/>
              <a:pathLst>
                <a:path w="3762375" h="2524125">
                  <a:moveTo>
                    <a:pt x="0" y="0"/>
                  </a:moveTo>
                  <a:lnTo>
                    <a:pt x="581025" y="0"/>
                  </a:lnTo>
                  <a:lnTo>
                    <a:pt x="1047750" y="2524125"/>
                  </a:lnTo>
                  <a:lnTo>
                    <a:pt x="3762375" y="2524125"/>
                  </a:lnTo>
                </a:path>
              </a:pathLst>
            </a:custGeom>
            <a:no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 name="组合 6"/>
          <p:cNvGrpSpPr/>
          <p:nvPr/>
        </p:nvGrpSpPr>
        <p:grpSpPr>
          <a:xfrm>
            <a:off x="1310377" y="1525960"/>
            <a:ext cx="3359812" cy="511644"/>
            <a:chOff x="1200270" y="2464321"/>
            <a:chExt cx="3359812" cy="511644"/>
          </a:xfrm>
        </p:grpSpPr>
        <p:sp>
          <p:nvSpPr>
            <p:cNvPr id="8" name="矩形 4"/>
            <p:cNvSpPr/>
            <p:nvPr/>
          </p:nvSpPr>
          <p:spPr>
            <a:xfrm flipH="1">
              <a:off x="1200270" y="2464321"/>
              <a:ext cx="3359812" cy="511644"/>
            </a:xfrm>
            <a:custGeom>
              <a:avLst/>
              <a:gdLst/>
              <a:ahLst/>
              <a:cxnLst/>
              <a:rect l="l" t="t" r="r" b="b"/>
              <a:pathLst>
                <a:path w="4728554" h="720080">
                  <a:moveTo>
                    <a:pt x="0" y="0"/>
                  </a:moveTo>
                  <a:lnTo>
                    <a:pt x="4728554" y="0"/>
                  </a:lnTo>
                  <a:lnTo>
                    <a:pt x="4728554" y="10838"/>
                  </a:lnTo>
                  <a:lnTo>
                    <a:pt x="4587607" y="720080"/>
                  </a:lnTo>
                  <a:lnTo>
                    <a:pt x="134901" y="7200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9" name="TextBox 8"/>
            <p:cNvSpPr txBox="1"/>
            <p:nvPr/>
          </p:nvSpPr>
          <p:spPr>
            <a:xfrm>
              <a:off x="2098365" y="2579961"/>
              <a:ext cx="1620957" cy="307777"/>
            </a:xfrm>
            <a:prstGeom prst="rect">
              <a:avLst/>
            </a:prstGeom>
            <a:noFill/>
          </p:spPr>
          <p:txBody>
            <a:bodyPr wrap="none" rtlCol="0">
              <a:spAutoFit/>
            </a:bodyPr>
            <a:lstStyle/>
            <a:p>
              <a:r>
                <a:rPr lang="zh-CN" altLang="en-US" sz="1400" b="1" dirty="0">
                  <a:solidFill>
                    <a:schemeClr val="bg1"/>
                  </a:solidFill>
                </a:rPr>
                <a:t>单击此处添加标题</a:t>
              </a:r>
            </a:p>
          </p:txBody>
        </p:sp>
      </p:grpSp>
      <p:grpSp>
        <p:nvGrpSpPr>
          <p:cNvPr id="10" name="组合 9"/>
          <p:cNvGrpSpPr/>
          <p:nvPr/>
        </p:nvGrpSpPr>
        <p:grpSpPr>
          <a:xfrm>
            <a:off x="1414372" y="2143923"/>
            <a:ext cx="3150381" cy="511644"/>
            <a:chOff x="1304265" y="3082284"/>
            <a:chExt cx="3150381" cy="511644"/>
          </a:xfrm>
        </p:grpSpPr>
        <p:sp>
          <p:nvSpPr>
            <p:cNvPr id="11" name="矩形 8"/>
            <p:cNvSpPr/>
            <p:nvPr/>
          </p:nvSpPr>
          <p:spPr>
            <a:xfrm flipH="1">
              <a:off x="1304265" y="3082284"/>
              <a:ext cx="3150381" cy="511644"/>
            </a:xfrm>
            <a:custGeom>
              <a:avLst/>
              <a:gdLst/>
              <a:ahLst/>
              <a:cxnLst/>
              <a:rect l="l" t="t" r="r" b="b"/>
              <a:pathLst>
                <a:path w="4433803" h="720080">
                  <a:moveTo>
                    <a:pt x="0" y="0"/>
                  </a:moveTo>
                  <a:lnTo>
                    <a:pt x="4433803" y="0"/>
                  </a:lnTo>
                  <a:lnTo>
                    <a:pt x="4298902" y="720080"/>
                  </a:lnTo>
                  <a:lnTo>
                    <a:pt x="134901" y="7200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2" name="TextBox 11"/>
            <p:cNvSpPr txBox="1"/>
            <p:nvPr/>
          </p:nvSpPr>
          <p:spPr>
            <a:xfrm>
              <a:off x="2098365" y="3176191"/>
              <a:ext cx="1620957" cy="307777"/>
            </a:xfrm>
            <a:prstGeom prst="rect">
              <a:avLst/>
            </a:prstGeom>
            <a:noFill/>
          </p:spPr>
          <p:txBody>
            <a:bodyPr wrap="none" rtlCol="0">
              <a:spAutoFit/>
            </a:bodyPr>
            <a:lstStyle/>
            <a:p>
              <a:r>
                <a:rPr lang="zh-CN" altLang="en-US" sz="1400" b="1" dirty="0">
                  <a:solidFill>
                    <a:schemeClr val="bg1"/>
                  </a:solidFill>
                </a:rPr>
                <a:t>单击此处添加标题</a:t>
              </a:r>
            </a:p>
          </p:txBody>
        </p:sp>
      </p:grpSp>
      <p:grpSp>
        <p:nvGrpSpPr>
          <p:cNvPr id="13" name="组合 12"/>
          <p:cNvGrpSpPr/>
          <p:nvPr/>
        </p:nvGrpSpPr>
        <p:grpSpPr>
          <a:xfrm>
            <a:off x="1515036" y="2752361"/>
            <a:ext cx="2939505" cy="511644"/>
            <a:chOff x="1404929" y="3690722"/>
            <a:chExt cx="2939505" cy="511644"/>
          </a:xfrm>
        </p:grpSpPr>
        <p:sp>
          <p:nvSpPr>
            <p:cNvPr id="14" name="矩形 9"/>
            <p:cNvSpPr/>
            <p:nvPr/>
          </p:nvSpPr>
          <p:spPr>
            <a:xfrm flipH="1">
              <a:off x="1404929" y="3690722"/>
              <a:ext cx="2939505" cy="511644"/>
            </a:xfrm>
            <a:custGeom>
              <a:avLst/>
              <a:gdLst/>
              <a:ahLst/>
              <a:cxnLst/>
              <a:rect l="l" t="t" r="r" b="b"/>
              <a:pathLst>
                <a:path w="4137020" h="720080">
                  <a:moveTo>
                    <a:pt x="0" y="0"/>
                  </a:moveTo>
                  <a:lnTo>
                    <a:pt x="4137020" y="0"/>
                  </a:lnTo>
                  <a:lnTo>
                    <a:pt x="4002119" y="720080"/>
                  </a:lnTo>
                  <a:lnTo>
                    <a:pt x="134901" y="7200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5" name="TextBox 14"/>
            <p:cNvSpPr txBox="1"/>
            <p:nvPr/>
          </p:nvSpPr>
          <p:spPr>
            <a:xfrm>
              <a:off x="2098365" y="3796673"/>
              <a:ext cx="1620957" cy="307777"/>
            </a:xfrm>
            <a:prstGeom prst="rect">
              <a:avLst/>
            </a:prstGeom>
            <a:noFill/>
          </p:spPr>
          <p:txBody>
            <a:bodyPr wrap="none" rtlCol="0">
              <a:spAutoFit/>
            </a:bodyPr>
            <a:lstStyle/>
            <a:p>
              <a:r>
                <a:rPr lang="zh-CN" altLang="en-US" sz="1400" b="1" dirty="0">
                  <a:solidFill>
                    <a:schemeClr val="bg1"/>
                  </a:solidFill>
                </a:rPr>
                <a:t>单击此处添加标题</a:t>
              </a:r>
            </a:p>
          </p:txBody>
        </p:sp>
      </p:grpSp>
      <p:grpSp>
        <p:nvGrpSpPr>
          <p:cNvPr id="16" name="组合 15"/>
          <p:cNvGrpSpPr/>
          <p:nvPr/>
        </p:nvGrpSpPr>
        <p:grpSpPr>
          <a:xfrm>
            <a:off x="1625246" y="3347149"/>
            <a:ext cx="2728632" cy="511643"/>
            <a:chOff x="1515139" y="4285510"/>
            <a:chExt cx="2728632" cy="511643"/>
          </a:xfrm>
        </p:grpSpPr>
        <p:sp>
          <p:nvSpPr>
            <p:cNvPr id="17" name="矩形 10"/>
            <p:cNvSpPr/>
            <p:nvPr/>
          </p:nvSpPr>
          <p:spPr>
            <a:xfrm flipH="1">
              <a:off x="1515139" y="4285510"/>
              <a:ext cx="2728632" cy="511643"/>
            </a:xfrm>
            <a:custGeom>
              <a:avLst/>
              <a:gdLst/>
              <a:ahLst/>
              <a:cxnLst/>
              <a:rect l="l" t="t" r="r" b="b"/>
              <a:pathLst>
                <a:path w="3840239" h="720080">
                  <a:moveTo>
                    <a:pt x="0" y="0"/>
                  </a:moveTo>
                  <a:lnTo>
                    <a:pt x="3840239" y="0"/>
                  </a:lnTo>
                  <a:lnTo>
                    <a:pt x="3705338" y="720080"/>
                  </a:lnTo>
                  <a:lnTo>
                    <a:pt x="134901" y="72008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8" name="TextBox 17"/>
            <p:cNvSpPr txBox="1"/>
            <p:nvPr/>
          </p:nvSpPr>
          <p:spPr>
            <a:xfrm>
              <a:off x="2098365" y="4375393"/>
              <a:ext cx="1620957" cy="307777"/>
            </a:xfrm>
            <a:prstGeom prst="rect">
              <a:avLst/>
            </a:prstGeom>
            <a:noFill/>
          </p:spPr>
          <p:txBody>
            <a:bodyPr wrap="none" rtlCol="0">
              <a:spAutoFit/>
            </a:bodyPr>
            <a:lstStyle/>
            <a:p>
              <a:r>
                <a:rPr lang="zh-CN" altLang="en-US" sz="1400" b="1" dirty="0">
                  <a:solidFill>
                    <a:schemeClr val="bg1"/>
                  </a:solidFill>
                </a:rPr>
                <a:t>单击此处添加标题</a:t>
              </a:r>
            </a:p>
          </p:txBody>
        </p:sp>
      </p:grpSp>
      <p:grpSp>
        <p:nvGrpSpPr>
          <p:cNvPr id="19" name="组合 37"/>
          <p:cNvGrpSpPr/>
          <p:nvPr/>
        </p:nvGrpSpPr>
        <p:grpSpPr>
          <a:xfrm>
            <a:off x="4552373" y="1558851"/>
            <a:ext cx="4268099" cy="456742"/>
            <a:chOff x="3645074" y="1919642"/>
            <a:chExt cx="5196645" cy="556109"/>
          </a:xfrm>
        </p:grpSpPr>
        <p:sp>
          <p:nvSpPr>
            <p:cNvPr id="20" name="Line 18"/>
            <p:cNvSpPr>
              <a:spLocks noChangeShapeType="1"/>
            </p:cNvSpPr>
            <p:nvPr/>
          </p:nvSpPr>
          <p:spPr bwMode="auto">
            <a:xfrm>
              <a:off x="3645074" y="2197696"/>
              <a:ext cx="311150" cy="0"/>
            </a:xfrm>
            <a:prstGeom prst="line">
              <a:avLst/>
            </a:prstGeom>
            <a:noFill/>
            <a:ln w="9525" cmpd="sng">
              <a:solidFill>
                <a:schemeClr val="bg1">
                  <a:lumMod val="65000"/>
                </a:schemeClr>
              </a:solidFill>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1" name="Line 19"/>
            <p:cNvSpPr>
              <a:spLocks noChangeShapeType="1"/>
            </p:cNvSpPr>
            <p:nvPr/>
          </p:nvSpPr>
          <p:spPr bwMode="auto">
            <a:xfrm>
              <a:off x="3956224" y="1981796"/>
              <a:ext cx="0" cy="431800"/>
            </a:xfrm>
            <a:prstGeom prst="line">
              <a:avLst/>
            </a:prstGeom>
            <a:noFill/>
            <a:ln w="9525" cmpd="sng">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2" name="Rectangle 20"/>
            <p:cNvSpPr>
              <a:spLocks noChangeArrowheads="1"/>
            </p:cNvSpPr>
            <p:nvPr/>
          </p:nvSpPr>
          <p:spPr bwMode="auto">
            <a:xfrm>
              <a:off x="3956224" y="1919642"/>
              <a:ext cx="4885495" cy="55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单击此处添加文本，单击此处添加文本，单击此处添加文本</a:t>
              </a:r>
            </a:p>
          </p:txBody>
        </p:sp>
      </p:grpSp>
      <p:grpSp>
        <p:nvGrpSpPr>
          <p:cNvPr id="23" name="组合 22"/>
          <p:cNvGrpSpPr/>
          <p:nvPr/>
        </p:nvGrpSpPr>
        <p:grpSpPr>
          <a:xfrm>
            <a:off x="4399705" y="2170984"/>
            <a:ext cx="4268099" cy="456742"/>
            <a:chOff x="3645074" y="1919642"/>
            <a:chExt cx="5196645" cy="556109"/>
          </a:xfrm>
        </p:grpSpPr>
        <p:sp>
          <p:nvSpPr>
            <p:cNvPr id="24" name="Line 18"/>
            <p:cNvSpPr>
              <a:spLocks noChangeShapeType="1"/>
            </p:cNvSpPr>
            <p:nvPr/>
          </p:nvSpPr>
          <p:spPr bwMode="auto">
            <a:xfrm>
              <a:off x="3645074" y="2197696"/>
              <a:ext cx="311150" cy="0"/>
            </a:xfrm>
            <a:prstGeom prst="line">
              <a:avLst/>
            </a:prstGeom>
            <a:noFill/>
            <a:ln w="9525" cmpd="sng">
              <a:solidFill>
                <a:schemeClr val="bg1">
                  <a:lumMod val="65000"/>
                </a:schemeClr>
              </a:solidFill>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5" name="Line 19"/>
            <p:cNvSpPr>
              <a:spLocks noChangeShapeType="1"/>
            </p:cNvSpPr>
            <p:nvPr/>
          </p:nvSpPr>
          <p:spPr bwMode="auto">
            <a:xfrm>
              <a:off x="3956224" y="1981796"/>
              <a:ext cx="0" cy="431800"/>
            </a:xfrm>
            <a:prstGeom prst="line">
              <a:avLst/>
            </a:prstGeom>
            <a:noFill/>
            <a:ln w="9525" cmpd="sng">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6" name="Rectangle 20"/>
            <p:cNvSpPr>
              <a:spLocks noChangeArrowheads="1"/>
            </p:cNvSpPr>
            <p:nvPr/>
          </p:nvSpPr>
          <p:spPr bwMode="auto">
            <a:xfrm>
              <a:off x="3956224" y="1919642"/>
              <a:ext cx="4885495" cy="55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单击此处添加文本，单击此处添加文本，单击此处添加文本</a:t>
              </a:r>
            </a:p>
          </p:txBody>
        </p:sp>
      </p:grpSp>
      <p:grpSp>
        <p:nvGrpSpPr>
          <p:cNvPr id="27" name="组合 26"/>
          <p:cNvGrpSpPr/>
          <p:nvPr/>
        </p:nvGrpSpPr>
        <p:grpSpPr>
          <a:xfrm>
            <a:off x="4283968" y="2773592"/>
            <a:ext cx="4268099" cy="456742"/>
            <a:chOff x="3645074" y="1919642"/>
            <a:chExt cx="5196645" cy="556109"/>
          </a:xfrm>
        </p:grpSpPr>
        <p:sp>
          <p:nvSpPr>
            <p:cNvPr id="28" name="Line 18"/>
            <p:cNvSpPr>
              <a:spLocks noChangeShapeType="1"/>
            </p:cNvSpPr>
            <p:nvPr/>
          </p:nvSpPr>
          <p:spPr bwMode="auto">
            <a:xfrm>
              <a:off x="3645074" y="2197696"/>
              <a:ext cx="311150" cy="0"/>
            </a:xfrm>
            <a:prstGeom prst="line">
              <a:avLst/>
            </a:prstGeom>
            <a:noFill/>
            <a:ln w="9525" cmpd="sng">
              <a:solidFill>
                <a:schemeClr val="bg1">
                  <a:lumMod val="65000"/>
                </a:schemeClr>
              </a:solidFill>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29" name="Line 19"/>
            <p:cNvSpPr>
              <a:spLocks noChangeShapeType="1"/>
            </p:cNvSpPr>
            <p:nvPr/>
          </p:nvSpPr>
          <p:spPr bwMode="auto">
            <a:xfrm>
              <a:off x="3956224" y="1981796"/>
              <a:ext cx="0" cy="431800"/>
            </a:xfrm>
            <a:prstGeom prst="line">
              <a:avLst/>
            </a:prstGeom>
            <a:noFill/>
            <a:ln w="9525" cmpd="sng">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0" name="Rectangle 20"/>
            <p:cNvSpPr>
              <a:spLocks noChangeArrowheads="1"/>
            </p:cNvSpPr>
            <p:nvPr/>
          </p:nvSpPr>
          <p:spPr bwMode="auto">
            <a:xfrm>
              <a:off x="3956224" y="1919642"/>
              <a:ext cx="4885495" cy="55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单击此处添加文本，单击此处添加文本，单击此处添加文本</a:t>
              </a:r>
            </a:p>
          </p:txBody>
        </p:sp>
      </p:grpSp>
      <p:grpSp>
        <p:nvGrpSpPr>
          <p:cNvPr id="31" name="组合 30"/>
          <p:cNvGrpSpPr/>
          <p:nvPr/>
        </p:nvGrpSpPr>
        <p:grpSpPr>
          <a:xfrm>
            <a:off x="4211960" y="3362550"/>
            <a:ext cx="4268099" cy="456742"/>
            <a:chOff x="3645074" y="1919642"/>
            <a:chExt cx="5196645" cy="556109"/>
          </a:xfrm>
        </p:grpSpPr>
        <p:sp>
          <p:nvSpPr>
            <p:cNvPr id="32" name="Line 18"/>
            <p:cNvSpPr>
              <a:spLocks noChangeShapeType="1"/>
            </p:cNvSpPr>
            <p:nvPr/>
          </p:nvSpPr>
          <p:spPr bwMode="auto">
            <a:xfrm>
              <a:off x="3645074" y="2197696"/>
              <a:ext cx="311150" cy="0"/>
            </a:xfrm>
            <a:prstGeom prst="line">
              <a:avLst/>
            </a:prstGeom>
            <a:noFill/>
            <a:ln w="9525" cmpd="sng">
              <a:solidFill>
                <a:schemeClr val="bg1">
                  <a:lumMod val="65000"/>
                </a:schemeClr>
              </a:solidFill>
              <a:round/>
              <a:head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3" name="Line 19"/>
            <p:cNvSpPr>
              <a:spLocks noChangeShapeType="1"/>
            </p:cNvSpPr>
            <p:nvPr/>
          </p:nvSpPr>
          <p:spPr bwMode="auto">
            <a:xfrm>
              <a:off x="3956224" y="1981796"/>
              <a:ext cx="0" cy="431800"/>
            </a:xfrm>
            <a:prstGeom prst="line">
              <a:avLst/>
            </a:prstGeom>
            <a:noFill/>
            <a:ln w="9525" cmpd="sng">
              <a:solidFill>
                <a:schemeClr val="bg1">
                  <a:lumMod val="65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zh-CN" altLang="en-US" sz="1000" kern="0"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4" name="Rectangle 20"/>
            <p:cNvSpPr>
              <a:spLocks noChangeArrowheads="1"/>
            </p:cNvSpPr>
            <p:nvPr/>
          </p:nvSpPr>
          <p:spPr bwMode="auto">
            <a:xfrm>
              <a:off x="3956224" y="1919642"/>
              <a:ext cx="4885495" cy="556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nSpc>
                  <a:spcPct val="150000"/>
                </a:lnSpc>
                <a:defRPr/>
              </a:pPr>
              <a:r>
                <a:rPr lang="zh-CN" altLang="en-US" sz="1000" kern="0" dirty="0">
                  <a:solidFill>
                    <a:schemeClr val="bg1">
                      <a:lumMod val="50000"/>
                    </a:schemeClr>
                  </a:solidFill>
                  <a:latin typeface="微软雅黑" panose="020B0503020204020204" pitchFamily="34" charset="-122"/>
                  <a:ea typeface="微软雅黑" panose="020B0503020204020204" pitchFamily="34" charset="-122"/>
                </a:rPr>
                <a:t>单击此处添加文本，单击此处添加文本，单击此处添加文本，单击此处添加文本，单击此处添加文本，单击此处添加文本</a:t>
              </a:r>
            </a:p>
          </p:txBody>
        </p:sp>
      </p:grpSp>
    </p:spTree>
  </p:cSld>
  <p:clrMapOvr>
    <a:masterClrMapping/>
  </p:clrMapOvr>
  <p:transition spd="slow" advTm="3056">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22" presetClass="entr" presetSubtype="8" fill="hold" nodeType="withEffect">
                                  <p:stCondLst>
                                    <p:cond delay="500"/>
                                  </p:stCondLst>
                                  <p:childTnLst>
                                    <p:set>
                                      <p:cBhvr>
                                        <p:cTn id="14" dur="1" fill="hold">
                                          <p:stCondLst>
                                            <p:cond delay="0"/>
                                          </p:stCondLst>
                                        </p:cTn>
                                        <p:tgtEl>
                                          <p:spTgt spid="31"/>
                                        </p:tgtEl>
                                        <p:attrNameLst>
                                          <p:attrName>style.visibility</p:attrName>
                                        </p:attrNameLst>
                                      </p:cBhvr>
                                      <p:to>
                                        <p:strVal val="visible"/>
                                      </p:to>
                                    </p:set>
                                    <p:animEffect transition="in" filter="wipe(left)">
                                      <p:cBhvr>
                                        <p:cTn id="15" dur="500"/>
                                        <p:tgtEl>
                                          <p:spTgt spid="31"/>
                                        </p:tgtEl>
                                      </p:cBhvr>
                                    </p:animEffect>
                                  </p:childTnLst>
                                </p:cTn>
                              </p:par>
                              <p:par>
                                <p:cTn id="16" presetID="10" presetClass="entr" presetSubtype="0" fill="hold" nodeType="withEffect">
                                  <p:stCondLst>
                                    <p:cond delay="30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par>
                                <p:cTn id="19" presetID="22" presetClass="entr" presetSubtype="8" fill="hold" nodeType="withEffect">
                                  <p:stCondLst>
                                    <p:cond delay="800"/>
                                  </p:stCondLst>
                                  <p:childTnLst>
                                    <p:set>
                                      <p:cBhvr>
                                        <p:cTn id="20" dur="1" fill="hold">
                                          <p:stCondLst>
                                            <p:cond delay="0"/>
                                          </p:stCondLst>
                                        </p:cTn>
                                        <p:tgtEl>
                                          <p:spTgt spid="27"/>
                                        </p:tgtEl>
                                        <p:attrNameLst>
                                          <p:attrName>style.visibility</p:attrName>
                                        </p:attrNameLst>
                                      </p:cBhvr>
                                      <p:to>
                                        <p:strVal val="visible"/>
                                      </p:to>
                                    </p:set>
                                    <p:animEffect transition="in" filter="wipe(left)">
                                      <p:cBhvr>
                                        <p:cTn id="21" dur="500"/>
                                        <p:tgtEl>
                                          <p:spTgt spid="27"/>
                                        </p:tgtEl>
                                      </p:cBhvr>
                                    </p:animEffect>
                                  </p:childTnLst>
                                </p:cTn>
                              </p:par>
                              <p:par>
                                <p:cTn id="22" presetID="10" presetClass="entr" presetSubtype="0" fill="hold" nodeType="withEffect">
                                  <p:stCondLst>
                                    <p:cond delay="50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22" presetClass="entr" presetSubtype="8" fill="hold" nodeType="withEffect">
                                  <p:stCondLst>
                                    <p:cond delay="1100"/>
                                  </p:stCondLst>
                                  <p:childTnLst>
                                    <p:set>
                                      <p:cBhvr>
                                        <p:cTn id="26" dur="1" fill="hold">
                                          <p:stCondLst>
                                            <p:cond delay="0"/>
                                          </p:stCondLst>
                                        </p:cTn>
                                        <p:tgtEl>
                                          <p:spTgt spid="23"/>
                                        </p:tgtEl>
                                        <p:attrNameLst>
                                          <p:attrName>style.visibility</p:attrName>
                                        </p:attrNameLst>
                                      </p:cBhvr>
                                      <p:to>
                                        <p:strVal val="visible"/>
                                      </p:to>
                                    </p:set>
                                    <p:animEffect transition="in" filter="wipe(left)">
                                      <p:cBhvr>
                                        <p:cTn id="27" dur="500"/>
                                        <p:tgtEl>
                                          <p:spTgt spid="23"/>
                                        </p:tgtEl>
                                      </p:cBhvr>
                                    </p:animEffect>
                                  </p:childTnLst>
                                </p:cTn>
                              </p:par>
                              <p:par>
                                <p:cTn id="28" presetID="10" presetClass="entr" presetSubtype="0" fill="hold" nodeType="withEffect">
                                  <p:stCondLst>
                                    <p:cond delay="80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par>
                                <p:cTn id="31" presetID="22" presetClass="entr" presetSubtype="8" fill="hold" nodeType="withEffect">
                                  <p:stCondLst>
                                    <p:cond delay="130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添加标题</a:t>
            </a:r>
          </a:p>
        </p:txBody>
      </p:sp>
      <p:grpSp>
        <p:nvGrpSpPr>
          <p:cNvPr id="3" name="组合 2"/>
          <p:cNvGrpSpPr/>
          <p:nvPr/>
        </p:nvGrpSpPr>
        <p:grpSpPr>
          <a:xfrm>
            <a:off x="4619058" y="2937146"/>
            <a:ext cx="2168512" cy="1352137"/>
            <a:chOff x="4547050" y="4164165"/>
            <a:chExt cx="2168512" cy="1352137"/>
          </a:xfrm>
        </p:grpSpPr>
        <p:sp>
          <p:nvSpPr>
            <p:cNvPr id="4" name="任意多边形 3"/>
            <p:cNvSpPr/>
            <p:nvPr/>
          </p:nvSpPr>
          <p:spPr>
            <a:xfrm>
              <a:off x="4547050" y="4164165"/>
              <a:ext cx="2168512" cy="1352137"/>
            </a:xfrm>
            <a:custGeom>
              <a:avLst/>
              <a:gdLst/>
              <a:ahLst/>
              <a:cxnLst/>
              <a:rect l="l" t="t" r="r" b="b"/>
              <a:pathLst>
                <a:path w="1706765" h="1064222">
                  <a:moveTo>
                    <a:pt x="1334493" y="0"/>
                  </a:moveTo>
                  <a:cubicBezTo>
                    <a:pt x="1577893" y="305214"/>
                    <a:pt x="1706886" y="681243"/>
                    <a:pt x="1706765" y="1064222"/>
                  </a:cubicBezTo>
                  <a:lnTo>
                    <a:pt x="0" y="1064222"/>
                  </a:lnTo>
                  <a:close/>
                </a:path>
              </a:pathLst>
            </a:custGeom>
            <a:solidFill>
              <a:srgbClr val="C5C5C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5" name="TextBox 4"/>
            <p:cNvSpPr txBox="1"/>
            <p:nvPr/>
          </p:nvSpPr>
          <p:spPr>
            <a:xfrm rot="3640184">
              <a:off x="5941658" y="4791114"/>
              <a:ext cx="776607" cy="369332"/>
            </a:xfrm>
            <a:prstGeom prst="rect">
              <a:avLst/>
            </a:prstGeom>
            <a:noFill/>
          </p:spPr>
          <p:txBody>
            <a:bodyPr wrap="square" rtlCol="0">
              <a:spAutoFit/>
            </a:bodyPr>
            <a:lstStyle>
              <a:defPPr>
                <a:defRPr lang="zh-CN"/>
              </a:defPPr>
              <a:lvl1pPr algn="ctr">
                <a:defRPr b="1">
                  <a:solidFill>
                    <a:srgbClr val="0070C0"/>
                  </a:solidFill>
                  <a:latin typeface="微软雅黑" panose="020B0503020204020204" pitchFamily="34" charset="-122"/>
                  <a:ea typeface="微软雅黑" panose="020B0503020204020204" pitchFamily="34" charset="-122"/>
                </a:defRPr>
              </a:lvl1pPr>
            </a:lstStyle>
            <a:p>
              <a:r>
                <a:rPr lang="zh-CN" altLang="en-US" dirty="0">
                  <a:solidFill>
                    <a:schemeClr val="bg1"/>
                  </a:solidFill>
                </a:rPr>
                <a:t>标题</a:t>
              </a:r>
            </a:p>
          </p:txBody>
        </p:sp>
      </p:grpSp>
      <p:cxnSp>
        <p:nvCxnSpPr>
          <p:cNvPr id="6" name="直接连接符 5"/>
          <p:cNvCxnSpPr/>
          <p:nvPr/>
        </p:nvCxnSpPr>
        <p:spPr>
          <a:xfrm>
            <a:off x="1910313" y="2120622"/>
            <a:ext cx="2708746" cy="2168660"/>
          </a:xfrm>
          <a:prstGeom prst="line">
            <a:avLst/>
          </a:prstGeom>
          <a:ln>
            <a:solidFill>
              <a:schemeClr val="bg1">
                <a:lumMod val="50000"/>
              </a:schemeClr>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4619059" y="814442"/>
            <a:ext cx="0" cy="3474840"/>
          </a:xfrm>
          <a:prstGeom prst="line">
            <a:avLst/>
          </a:prstGeom>
          <a:ln>
            <a:solidFill>
              <a:schemeClr val="bg1">
                <a:lumMod val="50000"/>
              </a:schemeClr>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H="1">
            <a:off x="4619059" y="1940364"/>
            <a:ext cx="2977159" cy="2348918"/>
          </a:xfrm>
          <a:prstGeom prst="line">
            <a:avLst/>
          </a:prstGeom>
          <a:ln>
            <a:solidFill>
              <a:schemeClr val="bg1">
                <a:lumMod val="50000"/>
              </a:schemeClr>
            </a:solidFill>
            <a:prstDash val="dash"/>
            <a:headEnd type="triangl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组合 8"/>
          <p:cNvGrpSpPr/>
          <p:nvPr/>
        </p:nvGrpSpPr>
        <p:grpSpPr>
          <a:xfrm>
            <a:off x="2732458" y="1774411"/>
            <a:ext cx="1695527" cy="2168660"/>
            <a:chOff x="2660450" y="3001430"/>
            <a:chExt cx="1695527" cy="2168660"/>
          </a:xfrm>
        </p:grpSpPr>
        <p:sp>
          <p:nvSpPr>
            <p:cNvPr id="10" name="任意多边形 9"/>
            <p:cNvSpPr/>
            <p:nvPr/>
          </p:nvSpPr>
          <p:spPr>
            <a:xfrm>
              <a:off x="2660450" y="3001430"/>
              <a:ext cx="1695527" cy="2168660"/>
            </a:xfrm>
            <a:custGeom>
              <a:avLst/>
              <a:gdLst/>
              <a:ahLst/>
              <a:cxnLst/>
              <a:rect l="l" t="t" r="r" b="b"/>
              <a:pathLst>
                <a:path w="2255169" h="2884468">
                  <a:moveTo>
                    <a:pt x="2255169" y="0"/>
                  </a:moveTo>
                  <a:lnTo>
                    <a:pt x="2255169" y="2884468"/>
                  </a:lnTo>
                  <a:lnTo>
                    <a:pt x="0" y="1086032"/>
                  </a:lnTo>
                  <a:cubicBezTo>
                    <a:pt x="547309" y="399729"/>
                    <a:pt x="1377354" y="0"/>
                    <a:pt x="2255169" y="0"/>
                  </a:cubicBez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11" name="TextBox 10"/>
            <p:cNvSpPr txBox="1"/>
            <p:nvPr/>
          </p:nvSpPr>
          <p:spPr>
            <a:xfrm rot="19729423">
              <a:off x="3232196" y="3503097"/>
              <a:ext cx="776607" cy="369332"/>
            </a:xfrm>
            <a:prstGeom prst="rect">
              <a:avLst/>
            </a:prstGeom>
            <a:noFill/>
          </p:spPr>
          <p:txBody>
            <a:bodyPr wrap="square" rtlCol="0">
              <a:spAutoFit/>
            </a:bodyPr>
            <a:lstStyle>
              <a:defPPr>
                <a:defRPr lang="zh-CN"/>
              </a:defPPr>
              <a:lvl1pPr algn="ctr">
                <a:defRPr b="1">
                  <a:solidFill>
                    <a:srgbClr val="0070C0"/>
                  </a:solidFill>
                  <a:latin typeface="微软雅黑" panose="020B0503020204020204" pitchFamily="34" charset="-122"/>
                  <a:ea typeface="微软雅黑" panose="020B0503020204020204" pitchFamily="34" charset="-122"/>
                </a:defRPr>
              </a:lvl1pPr>
            </a:lstStyle>
            <a:p>
              <a:r>
                <a:rPr lang="zh-CN" altLang="en-US" dirty="0">
                  <a:solidFill>
                    <a:schemeClr val="bg1"/>
                  </a:solidFill>
                </a:rPr>
                <a:t>标题</a:t>
              </a:r>
            </a:p>
          </p:txBody>
        </p:sp>
      </p:grpSp>
      <p:grpSp>
        <p:nvGrpSpPr>
          <p:cNvPr id="12" name="组合 11"/>
          <p:cNvGrpSpPr/>
          <p:nvPr/>
        </p:nvGrpSpPr>
        <p:grpSpPr>
          <a:xfrm>
            <a:off x="2450546" y="2937146"/>
            <a:ext cx="2168512" cy="1352137"/>
            <a:chOff x="2378538" y="4164165"/>
            <a:chExt cx="2168512" cy="1352137"/>
          </a:xfrm>
        </p:grpSpPr>
        <p:sp>
          <p:nvSpPr>
            <p:cNvPr id="13" name="任意多边形 12"/>
            <p:cNvSpPr/>
            <p:nvPr/>
          </p:nvSpPr>
          <p:spPr>
            <a:xfrm>
              <a:off x="2378538" y="4164165"/>
              <a:ext cx="2168512" cy="1352137"/>
            </a:xfrm>
            <a:custGeom>
              <a:avLst/>
              <a:gdLst/>
              <a:ahLst/>
              <a:cxnLst/>
              <a:rect l="l" t="t" r="r" b="b"/>
              <a:pathLst>
                <a:path w="1706765" h="1064222">
                  <a:moveTo>
                    <a:pt x="372272" y="0"/>
                  </a:moveTo>
                  <a:lnTo>
                    <a:pt x="1706765" y="1064222"/>
                  </a:lnTo>
                  <a:lnTo>
                    <a:pt x="1" y="1064222"/>
                  </a:lnTo>
                  <a:cubicBezTo>
                    <a:pt x="-120" y="681243"/>
                    <a:pt x="128873" y="305214"/>
                    <a:pt x="372272" y="0"/>
                  </a:cubicBezTo>
                  <a:close/>
                </a:path>
              </a:pathLst>
            </a:custGeom>
            <a:solidFill>
              <a:srgbClr val="C5C5C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14" name="TextBox 13"/>
            <p:cNvSpPr txBox="1"/>
            <p:nvPr/>
          </p:nvSpPr>
          <p:spPr>
            <a:xfrm rot="18043251">
              <a:off x="2523107" y="4668579"/>
              <a:ext cx="776607" cy="400110"/>
            </a:xfrm>
            <a:prstGeom prst="rect">
              <a:avLst/>
            </a:prstGeom>
            <a:noFill/>
          </p:spPr>
          <p:txBody>
            <a:bodyPr wrap="square" rtlCol="0">
              <a:spAutoFit/>
            </a:bodyPr>
            <a:lstStyle>
              <a:defPPr>
                <a:defRPr lang="zh-CN"/>
              </a:defPPr>
              <a:lvl1pPr algn="ctr">
                <a:defRPr b="1">
                  <a:solidFill>
                    <a:srgbClr val="0070C0"/>
                  </a:solidFill>
                  <a:latin typeface="微软雅黑" panose="020B0503020204020204" pitchFamily="34" charset="-122"/>
                  <a:ea typeface="微软雅黑" panose="020B0503020204020204" pitchFamily="34" charset="-122"/>
                </a:defRPr>
              </a:lvl1pPr>
            </a:lstStyle>
            <a:p>
              <a:r>
                <a:rPr lang="zh-CN" altLang="en-US" sz="2000" dirty="0">
                  <a:solidFill>
                    <a:schemeClr val="bg1"/>
                  </a:solidFill>
                </a:rPr>
                <a:t>标题</a:t>
              </a:r>
            </a:p>
          </p:txBody>
        </p:sp>
      </p:grpSp>
      <p:grpSp>
        <p:nvGrpSpPr>
          <p:cNvPr id="15" name="组合 14"/>
          <p:cNvGrpSpPr/>
          <p:nvPr/>
        </p:nvGrpSpPr>
        <p:grpSpPr>
          <a:xfrm>
            <a:off x="4619059" y="2131282"/>
            <a:ext cx="1695525" cy="2168660"/>
            <a:chOff x="4547051" y="3358301"/>
            <a:chExt cx="1695525" cy="2168660"/>
          </a:xfrm>
        </p:grpSpPr>
        <p:sp>
          <p:nvSpPr>
            <p:cNvPr id="16" name="任意多边形 15"/>
            <p:cNvSpPr/>
            <p:nvPr/>
          </p:nvSpPr>
          <p:spPr>
            <a:xfrm>
              <a:off x="4547051" y="3358301"/>
              <a:ext cx="1695525" cy="2168660"/>
            </a:xfrm>
            <a:custGeom>
              <a:avLst/>
              <a:gdLst/>
              <a:ahLst/>
              <a:cxnLst/>
              <a:rect l="l" t="t" r="r" b="b"/>
              <a:pathLst>
                <a:path w="2255168" h="2884468">
                  <a:moveTo>
                    <a:pt x="0" y="0"/>
                  </a:moveTo>
                  <a:cubicBezTo>
                    <a:pt x="877815" y="0"/>
                    <a:pt x="1707860" y="399729"/>
                    <a:pt x="2255168" y="1086032"/>
                  </a:cubicBezTo>
                  <a:lnTo>
                    <a:pt x="0" y="2884468"/>
                  </a:lnTo>
                  <a:close/>
                </a:path>
              </a:pathLst>
            </a:custGeom>
            <a:solidFill>
              <a:srgbClr val="C5C5C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17" name="TextBox 16"/>
            <p:cNvSpPr txBox="1"/>
            <p:nvPr/>
          </p:nvSpPr>
          <p:spPr>
            <a:xfrm rot="1679910">
              <a:off x="4956079" y="3680742"/>
              <a:ext cx="776607" cy="369332"/>
            </a:xfrm>
            <a:prstGeom prst="rect">
              <a:avLst/>
            </a:prstGeom>
            <a:noFill/>
          </p:spPr>
          <p:txBody>
            <a:bodyPr wrap="square" rtlCol="0">
              <a:spAutoFit/>
            </a:bodyPr>
            <a:lstStyle>
              <a:defPPr>
                <a:defRPr lang="zh-CN"/>
              </a:defPPr>
              <a:lvl1pPr algn="ctr">
                <a:defRPr b="1">
                  <a:solidFill>
                    <a:srgbClr val="0070C0"/>
                  </a:solidFill>
                  <a:latin typeface="微软雅黑" panose="020B0503020204020204" pitchFamily="34" charset="-122"/>
                  <a:ea typeface="微软雅黑" panose="020B0503020204020204" pitchFamily="34" charset="-122"/>
                </a:defRPr>
              </a:lvl1pPr>
            </a:lstStyle>
            <a:p>
              <a:r>
                <a:rPr lang="zh-CN" altLang="en-US" dirty="0">
                  <a:solidFill>
                    <a:schemeClr val="bg1"/>
                  </a:solidFill>
                </a:rPr>
                <a:t>标题</a:t>
              </a:r>
            </a:p>
          </p:txBody>
        </p:sp>
      </p:grpSp>
      <p:sp>
        <p:nvSpPr>
          <p:cNvPr id="18" name="TextBox 17"/>
          <p:cNvSpPr txBox="1"/>
          <p:nvPr/>
        </p:nvSpPr>
        <p:spPr>
          <a:xfrm>
            <a:off x="683568" y="2700418"/>
            <a:ext cx="1839462" cy="1477328"/>
          </a:xfrm>
          <a:prstGeom prst="rect">
            <a:avLst/>
          </a:prstGeom>
          <a:noFill/>
        </p:spPr>
        <p:txBody>
          <a:bodyPr wrap="square" rtlCol="0">
            <a:spAutoFit/>
          </a:bodyPr>
          <a:lstStyle/>
          <a:p>
            <a:pPr>
              <a:lnSpc>
                <a:spcPct val="150000"/>
              </a:lnSpc>
            </a:pPr>
            <a:r>
              <a:rPr lang="zh-CN" altLang="en-US" sz="1200" dirty="0">
                <a:solidFill>
                  <a:srgbClr val="8E8E8E"/>
                </a:solidFill>
              </a:rPr>
              <a:t>这里根据您的需要输入介绍文本，这里根据您的需要输入介绍文本，这里根据您的需要输入介绍文本。</a:t>
            </a:r>
          </a:p>
        </p:txBody>
      </p:sp>
      <p:sp>
        <p:nvSpPr>
          <p:cNvPr id="19" name="TextBox 18"/>
          <p:cNvSpPr txBox="1"/>
          <p:nvPr/>
        </p:nvSpPr>
        <p:spPr>
          <a:xfrm>
            <a:off x="1737806" y="1017982"/>
            <a:ext cx="1839462" cy="923330"/>
          </a:xfrm>
          <a:prstGeom prst="rect">
            <a:avLst/>
          </a:prstGeom>
          <a:noFill/>
        </p:spPr>
        <p:txBody>
          <a:bodyPr wrap="square" rtlCol="0">
            <a:spAutoFit/>
          </a:bodyPr>
          <a:lstStyle/>
          <a:p>
            <a:pPr>
              <a:lnSpc>
                <a:spcPct val="150000"/>
              </a:lnSpc>
            </a:pPr>
            <a:r>
              <a:rPr lang="zh-CN" altLang="en-US" sz="1200" dirty="0">
                <a:solidFill>
                  <a:srgbClr val="8E8E8E"/>
                </a:solidFill>
              </a:rPr>
              <a:t>这里根据您的需要输入介绍文本，这里根据您的需要输入介绍文本。</a:t>
            </a:r>
          </a:p>
        </p:txBody>
      </p:sp>
      <p:sp>
        <p:nvSpPr>
          <p:cNvPr id="20" name="TextBox 19"/>
          <p:cNvSpPr txBox="1"/>
          <p:nvPr/>
        </p:nvSpPr>
        <p:spPr>
          <a:xfrm>
            <a:off x="5187907" y="1213244"/>
            <a:ext cx="1839462" cy="923330"/>
          </a:xfrm>
          <a:prstGeom prst="rect">
            <a:avLst/>
          </a:prstGeom>
          <a:noFill/>
        </p:spPr>
        <p:txBody>
          <a:bodyPr wrap="square" rtlCol="0">
            <a:spAutoFit/>
          </a:bodyPr>
          <a:lstStyle/>
          <a:p>
            <a:pPr>
              <a:lnSpc>
                <a:spcPct val="150000"/>
              </a:lnSpc>
            </a:pPr>
            <a:r>
              <a:rPr lang="zh-CN" altLang="en-US" sz="1200" dirty="0">
                <a:solidFill>
                  <a:srgbClr val="8E8E8E"/>
                </a:solidFill>
              </a:rPr>
              <a:t>这里根据您的需要输入介绍文本，这里根据您的需要输入介绍文本。</a:t>
            </a:r>
          </a:p>
        </p:txBody>
      </p:sp>
      <p:sp>
        <p:nvSpPr>
          <p:cNvPr id="21" name="TextBox 20"/>
          <p:cNvSpPr txBox="1"/>
          <p:nvPr/>
        </p:nvSpPr>
        <p:spPr>
          <a:xfrm>
            <a:off x="6876256" y="2722579"/>
            <a:ext cx="1839462" cy="1477328"/>
          </a:xfrm>
          <a:prstGeom prst="rect">
            <a:avLst/>
          </a:prstGeom>
          <a:noFill/>
        </p:spPr>
        <p:txBody>
          <a:bodyPr wrap="square" rtlCol="0">
            <a:spAutoFit/>
          </a:bodyPr>
          <a:lstStyle/>
          <a:p>
            <a:pPr>
              <a:lnSpc>
                <a:spcPct val="150000"/>
              </a:lnSpc>
            </a:pPr>
            <a:r>
              <a:rPr lang="zh-CN" altLang="en-US" sz="1200" dirty="0">
                <a:solidFill>
                  <a:srgbClr val="8E8E8E"/>
                </a:solidFill>
              </a:rPr>
              <a:t>这里根据您的需要输入介绍文本，这里根据您的需要输入介绍文本，这里根据您的需要输入介绍文本。</a:t>
            </a:r>
          </a:p>
        </p:txBody>
      </p:sp>
    </p:spTree>
  </p:cSld>
  <p:clrMapOvr>
    <a:masterClrMapping/>
  </p:clrMapOvr>
  <p:transition spd="slow" advTm="3571">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par>
                                <p:cTn id="8" presetID="22" presetClass="entr" presetSubtype="4"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down)">
                                      <p:cBhvr>
                                        <p:cTn id="10" dur="500"/>
                                        <p:tgtEl>
                                          <p:spTgt spid="7"/>
                                        </p:tgtEl>
                                      </p:cBhvr>
                                    </p:animEffect>
                                  </p:childTnLst>
                                </p:cTn>
                              </p:par>
                              <p:par>
                                <p:cTn id="11" presetID="22" presetClass="entr" presetSubtype="4"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500"/>
                                        <p:tgtEl>
                                          <p:spTgt spid="8"/>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par>
                                <p:cTn id="18" presetID="10" presetClass="entr" presetSubtype="0" fill="hold" nodeType="withEffect">
                                  <p:stCondLst>
                                    <p:cond delay="30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par>
                                <p:cTn id="21" presetID="10" presetClass="entr" presetSubtype="0" fill="hold" nodeType="withEffect">
                                  <p:stCondLst>
                                    <p:cond delay="50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par>
                                <p:cTn id="24" presetID="10" presetClass="entr" presetSubtype="0" fill="hold" nodeType="withEffect">
                                  <p:stCondLst>
                                    <p:cond delay="60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par>
                                <p:cTn id="27" presetID="26" presetClass="emph" presetSubtype="0" fill="hold" nodeType="withEffect">
                                  <p:stCondLst>
                                    <p:cond delay="1200"/>
                                  </p:stCondLst>
                                  <p:childTnLst>
                                    <p:animEffect transition="out" filter="fade">
                                      <p:cBhvr>
                                        <p:cTn id="28" dur="500" tmFilter="0, 0; .2, .5; .8, .5; 1, 0"/>
                                        <p:tgtEl>
                                          <p:spTgt spid="9"/>
                                        </p:tgtEl>
                                      </p:cBhvr>
                                    </p:animEffect>
                                    <p:animScale>
                                      <p:cBhvr>
                                        <p:cTn id="29" dur="250" autoRev="1" fill="hold"/>
                                        <p:tgtEl>
                                          <p:spTgt spid="9"/>
                                        </p:tgtEl>
                                      </p:cBhvr>
                                      <p:by x="105000" y="105000"/>
                                    </p:animScale>
                                  </p:childTnLst>
                                </p:cTn>
                              </p:par>
                            </p:childTnLst>
                          </p:cTn>
                        </p:par>
                        <p:par>
                          <p:cTn id="30" fill="hold">
                            <p:stCondLst>
                              <p:cond delay="1000"/>
                            </p:stCondLst>
                            <p:childTnLst>
                              <p:par>
                                <p:cTn id="31" presetID="10" presetClass="entr" presetSubtype="0" fill="hold" grpId="0" nodeType="afterEffect">
                                  <p:stCondLst>
                                    <p:cond delay="0"/>
                                  </p:stCondLst>
                                  <p:childTnLst>
                                    <p:set>
                                      <p:cBhvr>
                                        <p:cTn id="32" dur="1" fill="hold">
                                          <p:stCondLst>
                                            <p:cond delay="0"/>
                                          </p:stCondLst>
                                        </p:cTn>
                                        <p:tgtEl>
                                          <p:spTgt spid="18"/>
                                        </p:tgtEl>
                                        <p:attrNameLst>
                                          <p:attrName>style.visibility</p:attrName>
                                        </p:attrNameLst>
                                      </p:cBhvr>
                                      <p:to>
                                        <p:strVal val="visible"/>
                                      </p:to>
                                    </p:set>
                                    <p:animEffect transition="in" filter="fade">
                                      <p:cBhvr>
                                        <p:cTn id="33" dur="500"/>
                                        <p:tgtEl>
                                          <p:spTgt spid="18"/>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500"/>
                                        <p:tgtEl>
                                          <p:spTgt spid="19"/>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500"/>
                                        <p:tgtEl>
                                          <p:spTgt spid="20"/>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fade">
                                      <p:cBhvr>
                                        <p:cTn id="4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grpSp>
        <p:nvGrpSpPr>
          <p:cNvPr id="4" name="组合 3"/>
          <p:cNvGrpSpPr/>
          <p:nvPr/>
        </p:nvGrpSpPr>
        <p:grpSpPr>
          <a:xfrm>
            <a:off x="583348" y="966673"/>
            <a:ext cx="2448272" cy="1952472"/>
            <a:chOff x="5724128" y="2968745"/>
            <a:chExt cx="2448272" cy="1952472"/>
          </a:xfrm>
        </p:grpSpPr>
        <p:sp>
          <p:nvSpPr>
            <p:cNvPr id="5" name="矩形 4"/>
            <p:cNvSpPr/>
            <p:nvPr/>
          </p:nvSpPr>
          <p:spPr>
            <a:xfrm>
              <a:off x="5724128" y="2968745"/>
              <a:ext cx="2448272" cy="195247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5"/>
            <p:cNvSpPr txBox="1"/>
            <p:nvPr/>
          </p:nvSpPr>
          <p:spPr>
            <a:xfrm>
              <a:off x="5749669" y="3256661"/>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7" name="TextBox 6"/>
            <p:cNvSpPr txBox="1"/>
            <p:nvPr/>
          </p:nvSpPr>
          <p:spPr>
            <a:xfrm>
              <a:off x="5749668" y="3569177"/>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8" name="TextBox 7"/>
            <p:cNvSpPr txBox="1"/>
            <p:nvPr/>
          </p:nvSpPr>
          <p:spPr>
            <a:xfrm>
              <a:off x="5765649" y="3854129"/>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9" name="TextBox 8"/>
            <p:cNvSpPr txBox="1"/>
            <p:nvPr/>
          </p:nvSpPr>
          <p:spPr>
            <a:xfrm>
              <a:off x="5749668" y="4120757"/>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0" name="TextBox 9"/>
            <p:cNvSpPr txBox="1"/>
            <p:nvPr/>
          </p:nvSpPr>
          <p:spPr>
            <a:xfrm>
              <a:off x="5765649" y="4405709"/>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grpSp>
      <p:grpSp>
        <p:nvGrpSpPr>
          <p:cNvPr id="11" name="组合 10"/>
          <p:cNvGrpSpPr/>
          <p:nvPr/>
        </p:nvGrpSpPr>
        <p:grpSpPr>
          <a:xfrm>
            <a:off x="2267744" y="2995542"/>
            <a:ext cx="2448272" cy="1952472"/>
            <a:chOff x="5724128" y="2968745"/>
            <a:chExt cx="2448272" cy="1952472"/>
          </a:xfrm>
        </p:grpSpPr>
        <p:sp>
          <p:nvSpPr>
            <p:cNvPr id="12" name="矩形 11"/>
            <p:cNvSpPr/>
            <p:nvPr/>
          </p:nvSpPr>
          <p:spPr>
            <a:xfrm>
              <a:off x="5724128" y="2968745"/>
              <a:ext cx="2448272" cy="195247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2"/>
            <p:cNvSpPr txBox="1"/>
            <p:nvPr/>
          </p:nvSpPr>
          <p:spPr>
            <a:xfrm>
              <a:off x="5749669" y="3256661"/>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4" name="TextBox 13"/>
            <p:cNvSpPr txBox="1"/>
            <p:nvPr/>
          </p:nvSpPr>
          <p:spPr>
            <a:xfrm>
              <a:off x="5749668" y="3569177"/>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5" name="TextBox 14"/>
            <p:cNvSpPr txBox="1"/>
            <p:nvPr/>
          </p:nvSpPr>
          <p:spPr>
            <a:xfrm>
              <a:off x="5765649" y="3854129"/>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6" name="TextBox 15"/>
            <p:cNvSpPr txBox="1"/>
            <p:nvPr/>
          </p:nvSpPr>
          <p:spPr>
            <a:xfrm>
              <a:off x="5749668" y="4120757"/>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sp>
          <p:nvSpPr>
            <p:cNvPr id="17" name="TextBox 16"/>
            <p:cNvSpPr txBox="1"/>
            <p:nvPr/>
          </p:nvSpPr>
          <p:spPr>
            <a:xfrm>
              <a:off x="5765649" y="4405709"/>
              <a:ext cx="2328507" cy="276999"/>
            </a:xfrm>
            <a:prstGeom prst="rect">
              <a:avLst/>
            </a:prstGeom>
            <a:noFill/>
          </p:spPr>
          <p:txBody>
            <a:bodyPr wrap="squar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单击此处添加文本</a:t>
              </a:r>
            </a:p>
          </p:txBody>
        </p:sp>
      </p:grpSp>
      <p:grpSp>
        <p:nvGrpSpPr>
          <p:cNvPr id="20" name="组合 19"/>
          <p:cNvGrpSpPr/>
          <p:nvPr/>
        </p:nvGrpSpPr>
        <p:grpSpPr>
          <a:xfrm>
            <a:off x="3110573" y="2235326"/>
            <a:ext cx="763876" cy="683819"/>
            <a:chOff x="3110573" y="2235326"/>
            <a:chExt cx="763876" cy="683819"/>
          </a:xfrm>
        </p:grpSpPr>
        <p:sp>
          <p:nvSpPr>
            <p:cNvPr id="18" name="矩形 17"/>
            <p:cNvSpPr/>
            <p:nvPr/>
          </p:nvSpPr>
          <p:spPr>
            <a:xfrm>
              <a:off x="3110573" y="2235326"/>
              <a:ext cx="763876" cy="683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2" name="Picture 18" descr="C:\Users\ABC\Desktop\lcd.png"/>
            <p:cNvPicPr>
              <a:picLocks noChangeAspect="1" noChangeArrowheads="1"/>
            </p:cNvPicPr>
            <p:nvPr/>
          </p:nvPicPr>
          <p:blipFill>
            <a:blip r:embed="rId3" cstate="screen">
              <a:biLevel thresh="25000"/>
            </a:blip>
            <a:srcRect/>
            <a:stretch>
              <a:fillRect/>
            </a:stretch>
          </p:blipFill>
          <p:spPr bwMode="auto">
            <a:xfrm>
              <a:off x="3239259" y="2324614"/>
              <a:ext cx="505241" cy="5052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组合 1"/>
          <p:cNvGrpSpPr/>
          <p:nvPr/>
        </p:nvGrpSpPr>
        <p:grpSpPr>
          <a:xfrm>
            <a:off x="1425546" y="2995542"/>
            <a:ext cx="763876" cy="683819"/>
            <a:chOff x="1425546" y="2995542"/>
            <a:chExt cx="763876" cy="683819"/>
          </a:xfrm>
        </p:grpSpPr>
        <p:sp>
          <p:nvSpPr>
            <p:cNvPr id="19" name="矩形 18"/>
            <p:cNvSpPr/>
            <p:nvPr/>
          </p:nvSpPr>
          <p:spPr>
            <a:xfrm>
              <a:off x="1425546" y="2995542"/>
              <a:ext cx="763876" cy="6838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Picture 17" descr="C:\Users\ABC\Desktop\pen.png"/>
            <p:cNvPicPr>
              <a:picLocks noChangeAspect="1" noChangeArrowheads="1"/>
            </p:cNvPicPr>
            <p:nvPr/>
          </p:nvPicPr>
          <p:blipFill>
            <a:blip r:embed="rId4" cstate="screen">
              <a:biLevel thresh="25000"/>
            </a:blip>
            <a:srcRect/>
            <a:stretch>
              <a:fillRect/>
            </a:stretch>
          </p:blipFill>
          <p:spPr bwMode="auto">
            <a:xfrm>
              <a:off x="1542900" y="3064773"/>
              <a:ext cx="529168" cy="529168"/>
            </a:xfrm>
            <a:prstGeom prst="rect">
              <a:avLst/>
            </a:prstGeom>
            <a:noFill/>
            <a:extLst>
              <a:ext uri="{909E8E84-426E-40DD-AFC4-6F175D3DCCD1}">
                <a14:hiddenFill xmlns:a14="http://schemas.microsoft.com/office/drawing/2010/main">
                  <a:solidFill>
                    <a:srgbClr val="FFFFFF"/>
                  </a:solidFill>
                </a14:hiddenFill>
              </a:ext>
            </a:extLst>
          </p:spPr>
        </p:pic>
      </p:grpSp>
      <p:pic>
        <p:nvPicPr>
          <p:cNvPr id="2050" name="Picture 2" descr="C:\Users\ABC\Desktop\u=1360563324,2169315981&amp;fm=23&amp;gp=0.jpg"/>
          <p:cNvPicPr>
            <a:picLocks noChangeAspect="1" noChangeArrowheads="1"/>
          </p:cNvPicPr>
          <p:nvPr/>
        </p:nvPicPr>
        <p:blipFill rotWithShape="1">
          <a:blip r:embed="rId5" cstate="screen">
            <a:grayscl/>
          </a:blip>
          <a:srcRect/>
          <a:stretch>
            <a:fillRect/>
          </a:stretch>
        </p:blipFill>
        <p:spPr bwMode="auto">
          <a:xfrm>
            <a:off x="5004048" y="1056004"/>
            <a:ext cx="3828283" cy="2451850"/>
          </a:xfrm>
          <a:prstGeom prst="rect">
            <a:avLst/>
          </a:prstGeom>
          <a:noFill/>
          <a:ln>
            <a:noFill/>
          </a:ln>
          <a:extLst>
            <a:ext uri="{909E8E84-426E-40DD-AFC4-6F175D3DCCD1}">
              <a14:hiddenFill xmlns:a14="http://schemas.microsoft.com/office/drawing/2010/main">
                <a:solidFill>
                  <a:srgbClr val="FFFFFF"/>
                </a:solidFill>
              </a14:hiddenFill>
            </a:ext>
          </a:extLst>
        </p:spPr>
      </p:pic>
    </p:spTree>
  </p:cSld>
  <p:clrMapOvr>
    <a:masterClrMapping/>
  </p:clrMapOvr>
  <p:transition spd="slow" advTm="265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p:tgtEl>
                                          <p:spTgt spid="4"/>
                                        </p:tgtEl>
                                        <p:attrNameLst>
                                          <p:attrName>ppt_y</p:attrName>
                                        </p:attrNameLst>
                                      </p:cBhvr>
                                      <p:tavLst>
                                        <p:tav tm="0">
                                          <p:val>
                                            <p:strVal val="#ppt_y-#ppt_h*1.125000"/>
                                          </p:val>
                                        </p:tav>
                                        <p:tav tm="100000">
                                          <p:val>
                                            <p:strVal val="#ppt_y"/>
                                          </p:val>
                                        </p:tav>
                                      </p:tavLst>
                                    </p:anim>
                                    <p:animEffect transition="in" filter="wipe(down)">
                                      <p:cBhvr>
                                        <p:cTn id="8" dur="500"/>
                                        <p:tgtEl>
                                          <p:spTgt spid="4"/>
                                        </p:tgtEl>
                                      </p:cBhvr>
                                    </p:animEffect>
                                  </p:childTnLst>
                                </p:cTn>
                              </p:par>
                              <p:par>
                                <p:cTn id="9" presetID="1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p:tgtEl>
                                          <p:spTgt spid="11"/>
                                        </p:tgtEl>
                                        <p:attrNameLst>
                                          <p:attrName>ppt_y</p:attrName>
                                        </p:attrNameLst>
                                      </p:cBhvr>
                                      <p:tavLst>
                                        <p:tav tm="0">
                                          <p:val>
                                            <p:strVal val="#ppt_y+#ppt_h*1.125000"/>
                                          </p:val>
                                        </p:tav>
                                        <p:tav tm="100000">
                                          <p:val>
                                            <p:strVal val="#ppt_y"/>
                                          </p:val>
                                        </p:tav>
                                      </p:tavLst>
                                    </p:anim>
                                    <p:animEffect transition="in" filter="wipe(up)">
                                      <p:cBhvr>
                                        <p:cTn id="12" dur="500"/>
                                        <p:tgtEl>
                                          <p:spTgt spid="11"/>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childTnLst>
                                </p:cTn>
                              </p:par>
                              <p:par>
                                <p:cTn id="17" presetID="10" presetClass="entr" presetSubtype="0" fill="hold" nodeType="with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2050"/>
                                        </p:tgtEl>
                                        <p:attrNameLst>
                                          <p:attrName>style.visibility</p:attrName>
                                        </p:attrNameLst>
                                      </p:cBhvr>
                                      <p:to>
                                        <p:strVal val="visible"/>
                                      </p:to>
                                    </p:set>
                                    <p:animEffect transition="in" filter="fade">
                                      <p:cBhvr>
                                        <p:cTn id="23" dur="500"/>
                                        <p:tgtEl>
                                          <p:spTgt spid="20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grpSp>
        <p:nvGrpSpPr>
          <p:cNvPr id="4" name="组合 3"/>
          <p:cNvGrpSpPr/>
          <p:nvPr/>
        </p:nvGrpSpPr>
        <p:grpSpPr>
          <a:xfrm>
            <a:off x="931171" y="2688765"/>
            <a:ext cx="1551772" cy="1410297"/>
            <a:chOff x="1030439" y="3618023"/>
            <a:chExt cx="1551772" cy="1410297"/>
          </a:xfrm>
        </p:grpSpPr>
        <p:sp>
          <p:nvSpPr>
            <p:cNvPr id="5" name="椭圆 1"/>
            <p:cNvSpPr/>
            <p:nvPr/>
          </p:nvSpPr>
          <p:spPr>
            <a:xfrm>
              <a:off x="1030439" y="4252434"/>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grpSp>
          <p:nvGrpSpPr>
            <p:cNvPr id="6" name="组合 5"/>
            <p:cNvGrpSpPr/>
            <p:nvPr/>
          </p:nvGrpSpPr>
          <p:grpSpPr>
            <a:xfrm>
              <a:off x="1139650" y="3618023"/>
              <a:ext cx="1365121" cy="947175"/>
              <a:chOff x="1139650" y="3618023"/>
              <a:chExt cx="1365121" cy="947175"/>
            </a:xfrm>
          </p:grpSpPr>
          <p:sp>
            <p:nvSpPr>
              <p:cNvPr id="7" name="椭圆 6"/>
              <p:cNvSpPr/>
              <p:nvPr/>
            </p:nvSpPr>
            <p:spPr bwMode="auto">
              <a:xfrm rot="1267204">
                <a:off x="1402404" y="3739108"/>
                <a:ext cx="826088" cy="82609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8" name="直接连接符 7"/>
              <p:cNvCxnSpPr/>
              <p:nvPr/>
            </p:nvCxnSpPr>
            <p:spPr>
              <a:xfrm>
                <a:off x="1139650" y="3618023"/>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a:off x="1806325" y="3618024"/>
                <a:ext cx="0" cy="1148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483160" y="3967487"/>
                <a:ext cx="646331" cy="369332"/>
              </a:xfrm>
              <a:prstGeom prst="rect">
                <a:avLst/>
              </a:prstGeom>
              <a:noFill/>
            </p:spPr>
            <p:txBody>
              <a:bodyPr wrap="none" rtlCol="0">
                <a:spAutoFit/>
              </a:bodyPr>
              <a:lstStyle/>
              <a:p>
                <a:r>
                  <a:rPr lang="zh-CN" altLang="en-US" dirty="0">
                    <a:solidFill>
                      <a:schemeClr val="bg1"/>
                    </a:solidFill>
                  </a:rPr>
                  <a:t>标题</a:t>
                </a:r>
              </a:p>
            </p:txBody>
          </p:sp>
        </p:grpSp>
      </p:grpSp>
      <p:grpSp>
        <p:nvGrpSpPr>
          <p:cNvPr id="11" name="组合 10"/>
          <p:cNvGrpSpPr/>
          <p:nvPr/>
        </p:nvGrpSpPr>
        <p:grpSpPr>
          <a:xfrm>
            <a:off x="2803620" y="1309751"/>
            <a:ext cx="1551772" cy="1615375"/>
            <a:chOff x="2902888" y="2239009"/>
            <a:chExt cx="1551772" cy="1615375"/>
          </a:xfrm>
        </p:grpSpPr>
        <p:sp>
          <p:nvSpPr>
            <p:cNvPr id="12" name="椭圆 1"/>
            <p:cNvSpPr/>
            <p:nvPr/>
          </p:nvSpPr>
          <p:spPr>
            <a:xfrm>
              <a:off x="2902888" y="2700792"/>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3" name="椭圆 12"/>
            <p:cNvSpPr/>
            <p:nvPr/>
          </p:nvSpPr>
          <p:spPr bwMode="auto">
            <a:xfrm rot="1267204">
              <a:off x="3283185" y="2239009"/>
              <a:ext cx="802497" cy="802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14" name="直接连接符 13"/>
            <p:cNvCxnSpPr/>
            <p:nvPr/>
          </p:nvCxnSpPr>
          <p:spPr>
            <a:xfrm>
              <a:off x="2996214" y="3854372"/>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a:off x="3682187" y="3503169"/>
              <a:ext cx="420" cy="35121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361267" y="2395058"/>
              <a:ext cx="646331" cy="369332"/>
            </a:xfrm>
            <a:prstGeom prst="rect">
              <a:avLst/>
            </a:prstGeom>
            <a:noFill/>
          </p:spPr>
          <p:txBody>
            <a:bodyPr wrap="none" rtlCol="0">
              <a:spAutoFit/>
            </a:bodyPr>
            <a:lstStyle/>
            <a:p>
              <a:r>
                <a:rPr lang="zh-CN" altLang="en-US" dirty="0">
                  <a:solidFill>
                    <a:schemeClr val="bg1"/>
                  </a:solidFill>
                </a:rPr>
                <a:t>标题</a:t>
              </a:r>
            </a:p>
          </p:txBody>
        </p:sp>
      </p:grpSp>
      <p:grpSp>
        <p:nvGrpSpPr>
          <p:cNvPr id="17" name="组合 16"/>
          <p:cNvGrpSpPr/>
          <p:nvPr/>
        </p:nvGrpSpPr>
        <p:grpSpPr>
          <a:xfrm>
            <a:off x="4676069" y="2671249"/>
            <a:ext cx="1551772" cy="1416247"/>
            <a:chOff x="4775337" y="3600507"/>
            <a:chExt cx="1551772" cy="1416247"/>
          </a:xfrm>
        </p:grpSpPr>
        <p:sp>
          <p:nvSpPr>
            <p:cNvPr id="18" name="椭圆 17"/>
            <p:cNvSpPr/>
            <p:nvPr/>
          </p:nvSpPr>
          <p:spPr bwMode="auto">
            <a:xfrm rot="1267204">
              <a:off x="5132056" y="3731833"/>
              <a:ext cx="843072" cy="843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19" name="椭圆 1"/>
            <p:cNvSpPr/>
            <p:nvPr/>
          </p:nvSpPr>
          <p:spPr>
            <a:xfrm>
              <a:off x="4775337" y="4240868"/>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20" name="直接连接符 19"/>
            <p:cNvCxnSpPr/>
            <p:nvPr/>
          </p:nvCxnSpPr>
          <p:spPr>
            <a:xfrm>
              <a:off x="4868663" y="3600507"/>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a:off x="5551222" y="3600508"/>
              <a:ext cx="0" cy="11485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5230427" y="3967487"/>
              <a:ext cx="646331" cy="369332"/>
            </a:xfrm>
            <a:prstGeom prst="rect">
              <a:avLst/>
            </a:prstGeom>
            <a:noFill/>
          </p:spPr>
          <p:txBody>
            <a:bodyPr wrap="none" rtlCol="0">
              <a:spAutoFit/>
            </a:bodyPr>
            <a:lstStyle/>
            <a:p>
              <a:r>
                <a:rPr lang="zh-CN" altLang="en-US" dirty="0">
                  <a:solidFill>
                    <a:schemeClr val="bg1"/>
                  </a:solidFill>
                </a:rPr>
                <a:t>标题</a:t>
              </a:r>
            </a:p>
          </p:txBody>
        </p:sp>
      </p:grpSp>
      <p:grpSp>
        <p:nvGrpSpPr>
          <p:cNvPr id="23" name="组合 22"/>
          <p:cNvGrpSpPr/>
          <p:nvPr/>
        </p:nvGrpSpPr>
        <p:grpSpPr>
          <a:xfrm>
            <a:off x="6731897" y="1249217"/>
            <a:ext cx="1551772" cy="1615375"/>
            <a:chOff x="6831165" y="2178475"/>
            <a:chExt cx="1551772" cy="1615375"/>
          </a:xfrm>
        </p:grpSpPr>
        <p:sp>
          <p:nvSpPr>
            <p:cNvPr id="24" name="椭圆 1"/>
            <p:cNvSpPr/>
            <p:nvPr/>
          </p:nvSpPr>
          <p:spPr>
            <a:xfrm>
              <a:off x="6831165" y="2640258"/>
              <a:ext cx="1551772" cy="775886"/>
            </a:xfrm>
            <a:custGeom>
              <a:avLst/>
              <a:gdLst/>
              <a:ahLst/>
              <a:cxnLst/>
              <a:rect l="l" t="t" r="r" b="b"/>
              <a:pathLst>
                <a:path w="3240360" h="1620180">
                  <a:moveTo>
                    <a:pt x="0" y="0"/>
                  </a:moveTo>
                  <a:lnTo>
                    <a:pt x="671900" y="0"/>
                  </a:lnTo>
                  <a:cubicBezTo>
                    <a:pt x="671900" y="523721"/>
                    <a:pt x="1096459" y="948280"/>
                    <a:pt x="1620180" y="948280"/>
                  </a:cubicBezTo>
                  <a:cubicBezTo>
                    <a:pt x="2143901" y="948280"/>
                    <a:pt x="2568460" y="523721"/>
                    <a:pt x="2568460" y="0"/>
                  </a:cubicBezTo>
                  <a:lnTo>
                    <a:pt x="3240360" y="0"/>
                  </a:lnTo>
                  <a:cubicBezTo>
                    <a:pt x="3240360" y="894801"/>
                    <a:pt x="2514981" y="1620180"/>
                    <a:pt x="1620180" y="1620180"/>
                  </a:cubicBezTo>
                  <a:cubicBezTo>
                    <a:pt x="725379" y="1620180"/>
                    <a:pt x="0" y="894801"/>
                    <a:pt x="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sp>
          <p:nvSpPr>
            <p:cNvPr id="25" name="椭圆 24"/>
            <p:cNvSpPr/>
            <p:nvPr/>
          </p:nvSpPr>
          <p:spPr bwMode="auto">
            <a:xfrm rot="1267204">
              <a:off x="7211462" y="2178475"/>
              <a:ext cx="802497" cy="80249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0000"/>
                </a:lnSpc>
              </a:pPr>
              <a:endParaRPr lang="zh-CN" altLang="en-US">
                <a:latin typeface="微软雅黑" panose="020B0503020204020204" pitchFamily="34" charset="-122"/>
                <a:ea typeface="微软雅黑" panose="020B0503020204020204" pitchFamily="34" charset="-122"/>
              </a:endParaRPr>
            </a:p>
          </p:txBody>
        </p:sp>
        <p:cxnSp>
          <p:nvCxnSpPr>
            <p:cNvPr id="26" name="直接连接符 25"/>
            <p:cNvCxnSpPr/>
            <p:nvPr/>
          </p:nvCxnSpPr>
          <p:spPr>
            <a:xfrm>
              <a:off x="6924491" y="3793838"/>
              <a:ext cx="136512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a:off x="7610464" y="3442635"/>
              <a:ext cx="420" cy="35121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7289544" y="2395058"/>
              <a:ext cx="646331" cy="369332"/>
            </a:xfrm>
            <a:prstGeom prst="rect">
              <a:avLst/>
            </a:prstGeom>
            <a:noFill/>
          </p:spPr>
          <p:txBody>
            <a:bodyPr wrap="none" rtlCol="0">
              <a:spAutoFit/>
            </a:bodyPr>
            <a:lstStyle/>
            <a:p>
              <a:r>
                <a:rPr lang="zh-CN" altLang="en-US" dirty="0">
                  <a:solidFill>
                    <a:schemeClr val="bg1"/>
                  </a:solidFill>
                </a:rPr>
                <a:t>标题</a:t>
              </a:r>
            </a:p>
          </p:txBody>
        </p:sp>
      </p:grpSp>
      <p:sp>
        <p:nvSpPr>
          <p:cNvPr id="29" name="TextBox 28"/>
          <p:cNvSpPr txBox="1"/>
          <p:nvPr/>
        </p:nvSpPr>
        <p:spPr>
          <a:xfrm>
            <a:off x="827584" y="1159081"/>
            <a:ext cx="1839462" cy="1477328"/>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
        <p:nvSpPr>
          <p:cNvPr id="30" name="TextBox 29"/>
          <p:cNvSpPr txBox="1"/>
          <p:nvPr/>
        </p:nvSpPr>
        <p:spPr>
          <a:xfrm>
            <a:off x="2687344" y="2972455"/>
            <a:ext cx="1839462" cy="1477328"/>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
        <p:nvSpPr>
          <p:cNvPr id="31" name="TextBox 30"/>
          <p:cNvSpPr txBox="1"/>
          <p:nvPr/>
        </p:nvSpPr>
        <p:spPr>
          <a:xfrm>
            <a:off x="4676069" y="1131590"/>
            <a:ext cx="1839462" cy="1477328"/>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
        <p:nvSpPr>
          <p:cNvPr id="32" name="TextBox 31"/>
          <p:cNvSpPr txBox="1"/>
          <p:nvPr/>
        </p:nvSpPr>
        <p:spPr>
          <a:xfrm>
            <a:off x="6593710" y="2925125"/>
            <a:ext cx="1839462" cy="1477328"/>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Tree>
  </p:cSld>
  <p:clrMapOvr>
    <a:masterClrMapping/>
  </p:clrMapOvr>
  <p:transition spd="slow" advTm="24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p:tgtEl>
                                          <p:spTgt spid="11"/>
                                        </p:tgtEl>
                                        <p:attrNameLst>
                                          <p:attrName>ppt_y</p:attrName>
                                        </p:attrNameLst>
                                      </p:cBhvr>
                                      <p:tavLst>
                                        <p:tav tm="0">
                                          <p:val>
                                            <p:strVal val="#ppt_y-#ppt_h*1.125000"/>
                                          </p:val>
                                        </p:tav>
                                        <p:tav tm="100000">
                                          <p:val>
                                            <p:strVal val="#ppt_y"/>
                                          </p:val>
                                        </p:tav>
                                      </p:tavLst>
                                    </p:anim>
                                    <p:animEffect transition="in" filter="wipe(down)">
                                      <p:cBhvr>
                                        <p:cTn id="8" dur="500"/>
                                        <p:tgtEl>
                                          <p:spTgt spid="11"/>
                                        </p:tgtEl>
                                      </p:cBhvr>
                                    </p:animEffect>
                                  </p:childTnLst>
                                </p:cTn>
                              </p:par>
                              <p:par>
                                <p:cTn id="9" presetID="12" presetClass="entr" presetSubtype="4"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p:tgtEl>
                                          <p:spTgt spid="4"/>
                                        </p:tgtEl>
                                        <p:attrNameLst>
                                          <p:attrName>ppt_y</p:attrName>
                                        </p:attrNameLst>
                                      </p:cBhvr>
                                      <p:tavLst>
                                        <p:tav tm="0">
                                          <p:val>
                                            <p:strVal val="#ppt_y+#ppt_h*1.125000"/>
                                          </p:val>
                                        </p:tav>
                                        <p:tav tm="100000">
                                          <p:val>
                                            <p:strVal val="#ppt_y"/>
                                          </p:val>
                                        </p:tav>
                                      </p:tavLst>
                                    </p:anim>
                                    <p:animEffect transition="in" filter="wipe(up)">
                                      <p:cBhvr>
                                        <p:cTn id="12" dur="500"/>
                                        <p:tgtEl>
                                          <p:spTgt spid="4"/>
                                        </p:tgtEl>
                                      </p:cBhvr>
                                    </p:animEffect>
                                  </p:childTnLst>
                                </p:cTn>
                              </p:par>
                              <p:par>
                                <p:cTn id="13" presetID="12" presetClass="entr" presetSubtype="4"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p:tgtEl>
                                          <p:spTgt spid="17"/>
                                        </p:tgtEl>
                                        <p:attrNameLst>
                                          <p:attrName>ppt_y</p:attrName>
                                        </p:attrNameLst>
                                      </p:cBhvr>
                                      <p:tavLst>
                                        <p:tav tm="0">
                                          <p:val>
                                            <p:strVal val="#ppt_y+#ppt_h*1.125000"/>
                                          </p:val>
                                        </p:tav>
                                        <p:tav tm="100000">
                                          <p:val>
                                            <p:strVal val="#ppt_y"/>
                                          </p:val>
                                        </p:tav>
                                      </p:tavLst>
                                    </p:anim>
                                    <p:animEffect transition="in" filter="wipe(up)">
                                      <p:cBhvr>
                                        <p:cTn id="16" dur="500"/>
                                        <p:tgtEl>
                                          <p:spTgt spid="17"/>
                                        </p:tgtEl>
                                      </p:cBhvr>
                                    </p:animEffect>
                                  </p:childTnLst>
                                </p:cTn>
                              </p:par>
                              <p:par>
                                <p:cTn id="17" presetID="12" presetClass="entr" presetSubtype="1"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p:tgtEl>
                                          <p:spTgt spid="23"/>
                                        </p:tgtEl>
                                        <p:attrNameLst>
                                          <p:attrName>ppt_y</p:attrName>
                                        </p:attrNameLst>
                                      </p:cBhvr>
                                      <p:tavLst>
                                        <p:tav tm="0">
                                          <p:val>
                                            <p:strVal val="#ppt_y-#ppt_h*1.125000"/>
                                          </p:val>
                                        </p:tav>
                                        <p:tav tm="100000">
                                          <p:val>
                                            <p:strVal val="#ppt_y"/>
                                          </p:val>
                                        </p:tav>
                                      </p:tavLst>
                                    </p:anim>
                                    <p:animEffect transition="in" filter="wipe(down)">
                                      <p:cBhvr>
                                        <p:cTn id="20" dur="500"/>
                                        <p:tgtEl>
                                          <p:spTgt spid="23"/>
                                        </p:tgtEl>
                                      </p:cBhvr>
                                    </p:animEffect>
                                  </p:childTnLst>
                                </p:cTn>
                              </p:par>
                            </p:childTnLst>
                          </p:cTn>
                        </p:par>
                        <p:par>
                          <p:cTn id="21" fill="hold">
                            <p:stCondLst>
                              <p:cond delay="500"/>
                            </p:stCondLst>
                            <p:childTnLst>
                              <p:par>
                                <p:cTn id="22" presetID="22" presetClass="entr" presetSubtype="4" fill="hold" grpId="0" nodeType="after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wipe(down)">
                                      <p:cBhvr>
                                        <p:cTn id="24" dur="500"/>
                                        <p:tgtEl>
                                          <p:spTgt spid="29"/>
                                        </p:tgtEl>
                                      </p:cBhvr>
                                    </p:animEffect>
                                  </p:childTnLst>
                                </p:cTn>
                              </p:par>
                              <p:par>
                                <p:cTn id="25" presetID="22" presetClass="entr" presetSubtype="1"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wipe(up)">
                                      <p:cBhvr>
                                        <p:cTn id="27" dur="500"/>
                                        <p:tgtEl>
                                          <p:spTgt spid="30"/>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wipe(down)">
                                      <p:cBhvr>
                                        <p:cTn id="30" dur="500"/>
                                        <p:tgtEl>
                                          <p:spTgt spid="31"/>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animEffect transition="in" filter="wipe(up)">
                                      <p:cBhvr>
                                        <p:cTn id="3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4" name="Rectangle 23"/>
          <p:cNvSpPr>
            <a:spLocks noChangeArrowheads="1"/>
          </p:cNvSpPr>
          <p:nvPr/>
        </p:nvSpPr>
        <p:spPr bwMode="auto">
          <a:xfrm>
            <a:off x="4067945" y="2172801"/>
            <a:ext cx="95020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r>
              <a:rPr lang="zh-CN" altLang="en-US" sz="1600" b="1" dirty="0">
                <a:solidFill>
                  <a:schemeClr val="bg1">
                    <a:lumMod val="50000"/>
                  </a:schemeClr>
                </a:solidFill>
                <a:latin typeface="微软雅黑" panose="020B0503020204020204" pitchFamily="34" charset="-122"/>
                <a:ea typeface="微软雅黑" panose="020B0503020204020204" pitchFamily="34" charset="-122"/>
              </a:rPr>
              <a:t>单击此处添加标题</a:t>
            </a:r>
            <a:endParaRPr lang="en-US" altLang="zh-CN" sz="1600" b="1" dirty="0">
              <a:solidFill>
                <a:schemeClr val="bg1">
                  <a:lumMod val="50000"/>
                </a:schemeClr>
              </a:solidFill>
              <a:latin typeface="微软雅黑" panose="020B0503020204020204" pitchFamily="34" charset="-122"/>
              <a:ea typeface="微软雅黑" panose="020B0503020204020204" pitchFamily="34" charset="-122"/>
            </a:endParaRPr>
          </a:p>
        </p:txBody>
      </p:sp>
      <p:grpSp>
        <p:nvGrpSpPr>
          <p:cNvPr id="5" name="组合 4"/>
          <p:cNvGrpSpPr/>
          <p:nvPr/>
        </p:nvGrpSpPr>
        <p:grpSpPr>
          <a:xfrm>
            <a:off x="3010819" y="1342426"/>
            <a:ext cx="2774229" cy="2563963"/>
            <a:chOff x="3010819" y="2271685"/>
            <a:chExt cx="2774229" cy="2563963"/>
          </a:xfrm>
        </p:grpSpPr>
        <p:sp>
          <p:nvSpPr>
            <p:cNvPr id="6" name="AutoShape 4"/>
            <p:cNvSpPr>
              <a:spLocks noChangeArrowheads="1"/>
            </p:cNvSpPr>
            <p:nvPr/>
          </p:nvSpPr>
          <p:spPr bwMode="gray">
            <a:xfrm rot="19367479">
              <a:off x="3010819" y="2271685"/>
              <a:ext cx="2774229" cy="2563963"/>
            </a:xfrm>
            <a:custGeom>
              <a:avLst/>
              <a:gdLst>
                <a:gd name="G0" fmla="+- 2978742 0 0"/>
                <a:gd name="G1" fmla="+- -2701147 0 0"/>
                <a:gd name="G2" fmla="+- 2978742 0 -2701147"/>
                <a:gd name="G3" fmla="+- 10800 0 0"/>
                <a:gd name="G4" fmla="+- 0 0 2978742"/>
                <a:gd name="T0" fmla="*/ 360 256 1"/>
                <a:gd name="T1" fmla="*/ 0 256 1"/>
                <a:gd name="G5" fmla="+- G2 T0 T1"/>
                <a:gd name="G6" fmla="?: G2 G2 G5"/>
                <a:gd name="G7" fmla="+- 0 0 G6"/>
                <a:gd name="G8" fmla="+- 7349 0 0"/>
                <a:gd name="G9" fmla="+- 0 0 -2701147"/>
                <a:gd name="G10" fmla="+- 7349 0 2700"/>
                <a:gd name="G11" fmla="cos G10 2978742"/>
                <a:gd name="G12" fmla="sin G10 2978742"/>
                <a:gd name="G13" fmla="cos 13500 2978742"/>
                <a:gd name="G14" fmla="sin 13500 2978742"/>
                <a:gd name="G15" fmla="+- G11 10800 0"/>
                <a:gd name="G16" fmla="+- G12 10800 0"/>
                <a:gd name="G17" fmla="+- G13 10800 0"/>
                <a:gd name="G18" fmla="+- G14 10800 0"/>
                <a:gd name="G19" fmla="*/ 7349 1 2"/>
                <a:gd name="G20" fmla="+- G19 5400 0"/>
                <a:gd name="G21" fmla="cos G20 2978742"/>
                <a:gd name="G22" fmla="sin G20 2978742"/>
                <a:gd name="G23" fmla="+- G21 10800 0"/>
                <a:gd name="G24" fmla="+- G12 G23 G22"/>
                <a:gd name="G25" fmla="+- G22 G23 G11"/>
                <a:gd name="G26" fmla="cos 10800 2978742"/>
                <a:gd name="G27" fmla="sin 10800 2978742"/>
                <a:gd name="G28" fmla="cos 7349 2978742"/>
                <a:gd name="G29" fmla="sin 7349 2978742"/>
                <a:gd name="G30" fmla="+- G26 10800 0"/>
                <a:gd name="G31" fmla="+- G27 10800 0"/>
                <a:gd name="G32" fmla="+- G28 10800 0"/>
                <a:gd name="G33" fmla="+- G29 10800 0"/>
                <a:gd name="G34" fmla="+- G19 5400 0"/>
                <a:gd name="G35" fmla="cos G34 -2701147"/>
                <a:gd name="G36" fmla="sin G34 -2701147"/>
                <a:gd name="G37" fmla="+/ -2701147 2978742 2"/>
                <a:gd name="T2" fmla="*/ 180 256 1"/>
                <a:gd name="T3" fmla="*/ 0 256 1"/>
                <a:gd name="G38" fmla="+- G37 T2 T3"/>
                <a:gd name="G39" fmla="?: G2 G37 G38"/>
                <a:gd name="G40" fmla="cos 10800 G39"/>
                <a:gd name="G41" fmla="sin 10800 G39"/>
                <a:gd name="G42" fmla="cos 7349 G39"/>
                <a:gd name="G43" fmla="sin 7349 G39"/>
                <a:gd name="G44" fmla="+- G40 10800 0"/>
                <a:gd name="G45" fmla="+- G41 10800 0"/>
                <a:gd name="G46" fmla="+- G42 10800 0"/>
                <a:gd name="G47" fmla="+- G43 10800 0"/>
                <a:gd name="G48" fmla="+- G35 10800 0"/>
                <a:gd name="G49" fmla="+- G36 10800 0"/>
                <a:gd name="T4" fmla="*/ 21592 w 21600"/>
                <a:gd name="T5" fmla="*/ 11199 h 21600"/>
                <a:gd name="T6" fmla="*/ 17626 w 21600"/>
                <a:gd name="T7" fmla="*/ 4820 h 21600"/>
                <a:gd name="T8" fmla="*/ 18143 w 21600"/>
                <a:gd name="T9" fmla="*/ 11071 h 21600"/>
                <a:gd name="T10" fmla="*/ 20270 w 21600"/>
                <a:gd name="T11" fmla="*/ 20420 h 21600"/>
                <a:gd name="T12" fmla="*/ 14012 w 21600"/>
                <a:gd name="T13" fmla="*/ 20372 h 21600"/>
                <a:gd name="T14" fmla="*/ 14061 w 21600"/>
                <a:gd name="T15" fmla="*/ 1411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5955" y="16037"/>
                  </a:moveTo>
                  <a:cubicBezTo>
                    <a:pt x="17358" y="14655"/>
                    <a:pt x="18149" y="12769"/>
                    <a:pt x="18149" y="10800"/>
                  </a:cubicBezTo>
                  <a:cubicBezTo>
                    <a:pt x="18149" y="9018"/>
                    <a:pt x="17501" y="7297"/>
                    <a:pt x="16328" y="5957"/>
                  </a:cubicBezTo>
                  <a:lnTo>
                    <a:pt x="18924" y="3683"/>
                  </a:lnTo>
                  <a:cubicBezTo>
                    <a:pt x="20649" y="5653"/>
                    <a:pt x="21600" y="8182"/>
                    <a:pt x="21600" y="10800"/>
                  </a:cubicBezTo>
                  <a:cubicBezTo>
                    <a:pt x="21600" y="13693"/>
                    <a:pt x="20438" y="16466"/>
                    <a:pt x="18376" y="18496"/>
                  </a:cubicBezTo>
                  <a:lnTo>
                    <a:pt x="20270" y="20420"/>
                  </a:lnTo>
                  <a:lnTo>
                    <a:pt x="14012" y="20372"/>
                  </a:lnTo>
                  <a:lnTo>
                    <a:pt x="14061" y="14113"/>
                  </a:lnTo>
                  <a:lnTo>
                    <a:pt x="15955" y="16037"/>
                  </a:lnTo>
                  <a:close/>
                </a:path>
              </a:pathLst>
            </a:custGeom>
            <a:solidFill>
              <a:srgbClr val="A9A9A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endParaRPr>
            </a:p>
          </p:txBody>
        </p:sp>
        <p:sp>
          <p:nvSpPr>
            <p:cNvPr id="7" name="WordArt 7"/>
            <p:cNvSpPr>
              <a:spLocks noChangeArrowheads="1" noChangeShapeType="1" noTextEdit="1"/>
            </p:cNvSpPr>
            <p:nvPr/>
          </p:nvSpPr>
          <p:spPr bwMode="gray">
            <a:xfrm rot="3394332">
              <a:off x="4023321" y="2627300"/>
              <a:ext cx="1551683" cy="1305941"/>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2808676"/>
                </a:avLst>
              </a:prstTxWarp>
            </a:bodyPr>
            <a:lstStyle/>
            <a:p>
              <a:pPr algn="ctr">
                <a:defRPr/>
              </a:pPr>
              <a:r>
                <a:rPr lang="zh-CN" altLang="en-US" sz="2000" kern="10" dirty="0">
                  <a:ln w="6350">
                    <a:noFill/>
                    <a:round/>
                  </a:ln>
                  <a:solidFill>
                    <a:schemeClr val="bg1"/>
                  </a:solidFill>
                  <a:latin typeface="微软雅黑" panose="020B0503020204020204" pitchFamily="34" charset="-122"/>
                  <a:ea typeface="微软雅黑" panose="020B0503020204020204" pitchFamily="34" charset="-122"/>
                  <a:cs typeface="Arial" panose="020B0604020202020204"/>
                </a:rPr>
                <a:t>单击此处添加文本</a:t>
              </a:r>
            </a:p>
          </p:txBody>
        </p:sp>
      </p:grpSp>
      <p:sp>
        <p:nvSpPr>
          <p:cNvPr id="8" name="TextBox 20"/>
          <p:cNvSpPr txBox="1"/>
          <p:nvPr/>
        </p:nvSpPr>
        <p:spPr bwMode="auto">
          <a:xfrm>
            <a:off x="5868144" y="1608279"/>
            <a:ext cx="2591956" cy="923330"/>
          </a:xfrm>
          <a:prstGeom prst="rect">
            <a:avLst/>
          </a:prstGeom>
          <a:noFill/>
        </p:spPr>
        <p:txBody>
          <a:bodyPr vert="horz" wrap="square" lIns="91440" tIns="45720" rIns="91440" bIns="45720" numCol="1" anchor="t" anchorCtr="0" compatLnSpc="1">
            <a:spAutoFit/>
          </a:bodyPr>
          <a:lstStyle/>
          <a:p>
            <a:pPr algn="ctr" fontAlgn="base">
              <a:lnSpc>
                <a:spcPct val="150000"/>
              </a:lnSpc>
              <a:spcBef>
                <a:spcPct val="0"/>
              </a:spcBef>
              <a:spcAft>
                <a:spcPct val="0"/>
              </a:spcAft>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p>
        </p:txBody>
      </p:sp>
      <p:grpSp>
        <p:nvGrpSpPr>
          <p:cNvPr id="9" name="组合 8"/>
          <p:cNvGrpSpPr/>
          <p:nvPr/>
        </p:nvGrpSpPr>
        <p:grpSpPr>
          <a:xfrm>
            <a:off x="3206624" y="1316252"/>
            <a:ext cx="2774998" cy="2563253"/>
            <a:chOff x="3206624" y="2245511"/>
            <a:chExt cx="2774998" cy="2563253"/>
          </a:xfrm>
        </p:grpSpPr>
        <p:sp>
          <p:nvSpPr>
            <p:cNvPr id="10" name="AutoShape 6"/>
            <p:cNvSpPr>
              <a:spLocks noChangeArrowheads="1"/>
            </p:cNvSpPr>
            <p:nvPr/>
          </p:nvSpPr>
          <p:spPr bwMode="gray">
            <a:xfrm rot="12146960">
              <a:off x="3206624" y="2245511"/>
              <a:ext cx="2774998" cy="2563253"/>
            </a:xfrm>
            <a:custGeom>
              <a:avLst/>
              <a:gdLst>
                <a:gd name="G0" fmla="+- 2978742 0 0"/>
                <a:gd name="G1" fmla="+- -2534030 0 0"/>
                <a:gd name="G2" fmla="+- 2978742 0 -2534030"/>
                <a:gd name="G3" fmla="+- 10800 0 0"/>
                <a:gd name="G4" fmla="+- 0 0 2978742"/>
                <a:gd name="T0" fmla="*/ 360 256 1"/>
                <a:gd name="T1" fmla="*/ 0 256 1"/>
                <a:gd name="G5" fmla="+- G2 T0 T1"/>
                <a:gd name="G6" fmla="?: G2 G2 G5"/>
                <a:gd name="G7" fmla="+- 0 0 G6"/>
                <a:gd name="G8" fmla="+- 7349 0 0"/>
                <a:gd name="G9" fmla="+- 0 0 -2534030"/>
                <a:gd name="G10" fmla="+- 7349 0 2700"/>
                <a:gd name="G11" fmla="cos G10 2978742"/>
                <a:gd name="G12" fmla="sin G10 2978742"/>
                <a:gd name="G13" fmla="cos 13500 2978742"/>
                <a:gd name="G14" fmla="sin 13500 2978742"/>
                <a:gd name="G15" fmla="+- G11 10800 0"/>
                <a:gd name="G16" fmla="+- G12 10800 0"/>
                <a:gd name="G17" fmla="+- G13 10800 0"/>
                <a:gd name="G18" fmla="+- G14 10800 0"/>
                <a:gd name="G19" fmla="*/ 7349 1 2"/>
                <a:gd name="G20" fmla="+- G19 5400 0"/>
                <a:gd name="G21" fmla="cos G20 2978742"/>
                <a:gd name="G22" fmla="sin G20 2978742"/>
                <a:gd name="G23" fmla="+- G21 10800 0"/>
                <a:gd name="G24" fmla="+- G12 G23 G22"/>
                <a:gd name="G25" fmla="+- G22 G23 G11"/>
                <a:gd name="G26" fmla="cos 10800 2978742"/>
                <a:gd name="G27" fmla="sin 10800 2978742"/>
                <a:gd name="G28" fmla="cos 7349 2978742"/>
                <a:gd name="G29" fmla="sin 7349 2978742"/>
                <a:gd name="G30" fmla="+- G26 10800 0"/>
                <a:gd name="G31" fmla="+- G27 10800 0"/>
                <a:gd name="G32" fmla="+- G28 10800 0"/>
                <a:gd name="G33" fmla="+- G29 10800 0"/>
                <a:gd name="G34" fmla="+- G19 5400 0"/>
                <a:gd name="G35" fmla="cos G34 -2534030"/>
                <a:gd name="G36" fmla="sin G34 -2534030"/>
                <a:gd name="G37" fmla="+/ -2534030 2978742 2"/>
                <a:gd name="T2" fmla="*/ 180 256 1"/>
                <a:gd name="T3" fmla="*/ 0 256 1"/>
                <a:gd name="G38" fmla="+- G37 T2 T3"/>
                <a:gd name="G39" fmla="?: G2 G37 G38"/>
                <a:gd name="G40" fmla="cos 10800 G39"/>
                <a:gd name="G41" fmla="sin 10800 G39"/>
                <a:gd name="G42" fmla="cos 7349 G39"/>
                <a:gd name="G43" fmla="sin 7349 G39"/>
                <a:gd name="G44" fmla="+- G40 10800 0"/>
                <a:gd name="G45" fmla="+- G41 10800 0"/>
                <a:gd name="G46" fmla="+- G42 10800 0"/>
                <a:gd name="G47" fmla="+- G43 10800 0"/>
                <a:gd name="G48" fmla="+- G35 10800 0"/>
                <a:gd name="G49" fmla="+- G36 10800 0"/>
                <a:gd name="T4" fmla="*/ 21581 w 21600"/>
                <a:gd name="T5" fmla="*/ 11439 h 21600"/>
                <a:gd name="T6" fmla="*/ 17885 w 21600"/>
                <a:gd name="T7" fmla="*/ 5130 h 21600"/>
                <a:gd name="T8" fmla="*/ 18136 w 21600"/>
                <a:gd name="T9" fmla="*/ 11234 h 21600"/>
                <a:gd name="T10" fmla="*/ 20270 w 21600"/>
                <a:gd name="T11" fmla="*/ 20420 h 21600"/>
                <a:gd name="T12" fmla="*/ 14012 w 21600"/>
                <a:gd name="T13" fmla="*/ 20372 h 21600"/>
                <a:gd name="T14" fmla="*/ 14061 w 21600"/>
                <a:gd name="T15" fmla="*/ 1411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5955" y="16037"/>
                  </a:moveTo>
                  <a:cubicBezTo>
                    <a:pt x="17358" y="14655"/>
                    <a:pt x="18149" y="12769"/>
                    <a:pt x="18149" y="10800"/>
                  </a:cubicBezTo>
                  <a:cubicBezTo>
                    <a:pt x="18149" y="9130"/>
                    <a:pt x="17580" y="7511"/>
                    <a:pt x="16538" y="6208"/>
                  </a:cubicBezTo>
                  <a:lnTo>
                    <a:pt x="19232" y="4052"/>
                  </a:lnTo>
                  <a:cubicBezTo>
                    <a:pt x="20765" y="5967"/>
                    <a:pt x="21600" y="8347"/>
                    <a:pt x="21600" y="10800"/>
                  </a:cubicBezTo>
                  <a:cubicBezTo>
                    <a:pt x="21600" y="13693"/>
                    <a:pt x="20438" y="16466"/>
                    <a:pt x="18376" y="18496"/>
                  </a:cubicBezTo>
                  <a:lnTo>
                    <a:pt x="20270" y="20420"/>
                  </a:lnTo>
                  <a:lnTo>
                    <a:pt x="14012" y="20372"/>
                  </a:lnTo>
                  <a:lnTo>
                    <a:pt x="14061" y="14113"/>
                  </a:lnTo>
                  <a:lnTo>
                    <a:pt x="15955" y="16037"/>
                  </a:lnTo>
                  <a:close/>
                </a:path>
              </a:pathLst>
            </a:cu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endParaRPr>
            </a:p>
          </p:txBody>
        </p:sp>
        <p:sp>
          <p:nvSpPr>
            <p:cNvPr id="11" name="WordArt 9"/>
            <p:cNvSpPr>
              <a:spLocks noChangeArrowheads="1" noChangeShapeType="1" noTextEdit="1"/>
            </p:cNvSpPr>
            <p:nvPr/>
          </p:nvSpPr>
          <p:spPr bwMode="gray">
            <a:xfrm rot="17984564">
              <a:off x="3368597" y="2671182"/>
              <a:ext cx="1551683" cy="1304771"/>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Up">
                <a:avLst>
                  <a:gd name="adj" fmla="val 12807259"/>
                </a:avLst>
              </a:prstTxWarp>
            </a:bodyPr>
            <a:lstStyle/>
            <a:p>
              <a:pPr algn="ctr">
                <a:defRPr/>
              </a:pPr>
              <a:r>
                <a:rPr lang="zh-CN" altLang="en-US" sz="2000" kern="10" dirty="0">
                  <a:ln w="6350">
                    <a:noFill/>
                    <a:round/>
                  </a:ln>
                  <a:solidFill>
                    <a:schemeClr val="bg1"/>
                  </a:solidFill>
                  <a:latin typeface="微软雅黑" panose="020B0503020204020204" pitchFamily="34" charset="-122"/>
                  <a:ea typeface="微软雅黑" panose="020B0503020204020204" pitchFamily="34" charset="-122"/>
                  <a:cs typeface="Arial" panose="020B0604020202020204"/>
                </a:rPr>
                <a:t>单击此处添加文本</a:t>
              </a:r>
            </a:p>
          </p:txBody>
        </p:sp>
      </p:grpSp>
      <p:sp>
        <p:nvSpPr>
          <p:cNvPr id="12" name="TextBox 20"/>
          <p:cNvSpPr txBox="1"/>
          <p:nvPr/>
        </p:nvSpPr>
        <p:spPr bwMode="auto">
          <a:xfrm>
            <a:off x="694320" y="1563638"/>
            <a:ext cx="2437520" cy="923330"/>
          </a:xfrm>
          <a:prstGeom prst="rect">
            <a:avLst/>
          </a:prstGeom>
          <a:noFill/>
        </p:spPr>
        <p:txBody>
          <a:bodyPr vert="horz" wrap="square" lIns="91440" tIns="45720" rIns="91440" bIns="45720" numCol="1" anchor="t" anchorCtr="0" compatLnSpc="1">
            <a:spAutoFit/>
          </a:bodyPr>
          <a:lstStyle/>
          <a:p>
            <a:pPr algn="ctr" fontAlgn="base">
              <a:lnSpc>
                <a:spcPct val="150000"/>
              </a:lnSpc>
              <a:spcBef>
                <a:spcPct val="0"/>
              </a:spcBef>
              <a:spcAft>
                <a:spcPct val="0"/>
              </a:spcAft>
              <a:defRPr/>
            </a:pPr>
            <a:r>
              <a:rPr lang="zh-CN" altLang="en-US" sz="1200" kern="0" dirty="0">
                <a:solidFill>
                  <a:schemeClr val="accent1"/>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p>
        </p:txBody>
      </p:sp>
      <p:grpSp>
        <p:nvGrpSpPr>
          <p:cNvPr id="13" name="组合 12"/>
          <p:cNvGrpSpPr/>
          <p:nvPr/>
        </p:nvGrpSpPr>
        <p:grpSpPr>
          <a:xfrm>
            <a:off x="3193412" y="1059582"/>
            <a:ext cx="2563253" cy="2774998"/>
            <a:chOff x="3193412" y="1988841"/>
            <a:chExt cx="2563253" cy="2774998"/>
          </a:xfrm>
        </p:grpSpPr>
        <p:sp>
          <p:nvSpPr>
            <p:cNvPr id="14" name="AutoShape 5"/>
            <p:cNvSpPr>
              <a:spLocks noChangeArrowheads="1"/>
            </p:cNvSpPr>
            <p:nvPr/>
          </p:nvSpPr>
          <p:spPr bwMode="gray">
            <a:xfrm rot="5078397">
              <a:off x="3087540" y="2094713"/>
              <a:ext cx="2774998" cy="2563253"/>
            </a:xfrm>
            <a:custGeom>
              <a:avLst/>
              <a:gdLst>
                <a:gd name="G0" fmla="+- 2978742 0 0"/>
                <a:gd name="G1" fmla="+- -2701274 0 0"/>
                <a:gd name="G2" fmla="+- 2978742 0 -2701274"/>
                <a:gd name="G3" fmla="+- 10800 0 0"/>
                <a:gd name="G4" fmla="+- 0 0 2978742"/>
                <a:gd name="T0" fmla="*/ 360 256 1"/>
                <a:gd name="T1" fmla="*/ 0 256 1"/>
                <a:gd name="G5" fmla="+- G2 T0 T1"/>
                <a:gd name="G6" fmla="?: G2 G2 G5"/>
                <a:gd name="G7" fmla="+- 0 0 G6"/>
                <a:gd name="G8" fmla="+- 7349 0 0"/>
                <a:gd name="G9" fmla="+- 0 0 -2701274"/>
                <a:gd name="G10" fmla="+- 7349 0 2700"/>
                <a:gd name="G11" fmla="cos G10 2978742"/>
                <a:gd name="G12" fmla="sin G10 2978742"/>
                <a:gd name="G13" fmla="cos 13500 2978742"/>
                <a:gd name="G14" fmla="sin 13500 2978742"/>
                <a:gd name="G15" fmla="+- G11 10800 0"/>
                <a:gd name="G16" fmla="+- G12 10800 0"/>
                <a:gd name="G17" fmla="+- G13 10800 0"/>
                <a:gd name="G18" fmla="+- G14 10800 0"/>
                <a:gd name="G19" fmla="*/ 7349 1 2"/>
                <a:gd name="G20" fmla="+- G19 5400 0"/>
                <a:gd name="G21" fmla="cos G20 2978742"/>
                <a:gd name="G22" fmla="sin G20 2978742"/>
                <a:gd name="G23" fmla="+- G21 10800 0"/>
                <a:gd name="G24" fmla="+- G12 G23 G22"/>
                <a:gd name="G25" fmla="+- G22 G23 G11"/>
                <a:gd name="G26" fmla="cos 10800 2978742"/>
                <a:gd name="G27" fmla="sin 10800 2978742"/>
                <a:gd name="G28" fmla="cos 7349 2978742"/>
                <a:gd name="G29" fmla="sin 7349 2978742"/>
                <a:gd name="G30" fmla="+- G26 10800 0"/>
                <a:gd name="G31" fmla="+- G27 10800 0"/>
                <a:gd name="G32" fmla="+- G28 10800 0"/>
                <a:gd name="G33" fmla="+- G29 10800 0"/>
                <a:gd name="G34" fmla="+- G19 5400 0"/>
                <a:gd name="G35" fmla="cos G34 -2701274"/>
                <a:gd name="G36" fmla="sin G34 -2701274"/>
                <a:gd name="G37" fmla="+/ -2701274 2978742 2"/>
                <a:gd name="T2" fmla="*/ 180 256 1"/>
                <a:gd name="T3" fmla="*/ 0 256 1"/>
                <a:gd name="G38" fmla="+- G37 T2 T3"/>
                <a:gd name="G39" fmla="?: G2 G37 G38"/>
                <a:gd name="G40" fmla="cos 10800 G39"/>
                <a:gd name="G41" fmla="sin 10800 G39"/>
                <a:gd name="G42" fmla="cos 7349 G39"/>
                <a:gd name="G43" fmla="sin 7349 G39"/>
                <a:gd name="G44" fmla="+- G40 10800 0"/>
                <a:gd name="G45" fmla="+- G41 10800 0"/>
                <a:gd name="G46" fmla="+- G42 10800 0"/>
                <a:gd name="G47" fmla="+- G43 10800 0"/>
                <a:gd name="G48" fmla="+- G35 10800 0"/>
                <a:gd name="G49" fmla="+- G36 10800 0"/>
                <a:gd name="T4" fmla="*/ 21592 w 21600"/>
                <a:gd name="T5" fmla="*/ 11198 h 21600"/>
                <a:gd name="T6" fmla="*/ 17626 w 21600"/>
                <a:gd name="T7" fmla="*/ 4820 h 21600"/>
                <a:gd name="T8" fmla="*/ 18143 w 21600"/>
                <a:gd name="T9" fmla="*/ 11071 h 21600"/>
                <a:gd name="T10" fmla="*/ 20270 w 21600"/>
                <a:gd name="T11" fmla="*/ 20420 h 21600"/>
                <a:gd name="T12" fmla="*/ 14012 w 21600"/>
                <a:gd name="T13" fmla="*/ 20372 h 21600"/>
                <a:gd name="T14" fmla="*/ 14061 w 21600"/>
                <a:gd name="T15" fmla="*/ 14113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15955" y="16037"/>
                  </a:moveTo>
                  <a:cubicBezTo>
                    <a:pt x="17358" y="14655"/>
                    <a:pt x="18149" y="12769"/>
                    <a:pt x="18149" y="10800"/>
                  </a:cubicBezTo>
                  <a:cubicBezTo>
                    <a:pt x="18149" y="9018"/>
                    <a:pt x="17501" y="7297"/>
                    <a:pt x="16327" y="5957"/>
                  </a:cubicBezTo>
                  <a:lnTo>
                    <a:pt x="18923" y="3683"/>
                  </a:lnTo>
                  <a:cubicBezTo>
                    <a:pt x="20648" y="5652"/>
                    <a:pt x="21600" y="8181"/>
                    <a:pt x="21600" y="10800"/>
                  </a:cubicBezTo>
                  <a:cubicBezTo>
                    <a:pt x="21600" y="13693"/>
                    <a:pt x="20438" y="16466"/>
                    <a:pt x="18376" y="18496"/>
                  </a:cubicBezTo>
                  <a:lnTo>
                    <a:pt x="20270" y="20420"/>
                  </a:lnTo>
                  <a:lnTo>
                    <a:pt x="14012" y="20372"/>
                  </a:lnTo>
                  <a:lnTo>
                    <a:pt x="14061" y="14113"/>
                  </a:lnTo>
                  <a:lnTo>
                    <a:pt x="15955" y="16037"/>
                  </a:lnTo>
                  <a:close/>
                </a:path>
              </a:pathLst>
            </a:custGeom>
            <a:solidFill>
              <a:srgbClr val="A9A9A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solidFill>
                  <a:schemeClr val="bg1"/>
                </a:solidFill>
              </a:endParaRPr>
            </a:p>
          </p:txBody>
        </p:sp>
        <p:sp>
          <p:nvSpPr>
            <p:cNvPr id="15" name="WordArt 8"/>
            <p:cNvSpPr>
              <a:spLocks noChangeArrowheads="1" noChangeShapeType="1" noTextEdit="1"/>
            </p:cNvSpPr>
            <p:nvPr/>
          </p:nvSpPr>
          <p:spPr bwMode="gray">
            <a:xfrm rot="79672">
              <a:off x="3561094" y="3197186"/>
              <a:ext cx="1824339" cy="1305941"/>
            </a:xfrm>
            <a:prstGeom prst="rect">
              <a:avLst/>
            </a:prstGeom>
            <a:extLst>
              <a:ext uri="{AF507438-7753-43E0-B8FC-AC1667EBCBE1}">
                <a14:hiddenEffects xmlns:a14="http://schemas.microsoft.com/office/drawing/2010/main">
                  <a:effectLst/>
                </a14:hiddenEffects>
              </a:ext>
            </a:extLst>
          </p:spPr>
          <p:txBody>
            <a:bodyPr spcFirstLastPara="1" wrap="none" fromWordArt="1">
              <a:prstTxWarp prst="textArchDown">
                <a:avLst>
                  <a:gd name="adj" fmla="val 2320405"/>
                </a:avLst>
              </a:prstTxWarp>
            </a:bodyPr>
            <a:lstStyle/>
            <a:p>
              <a:pPr algn="ctr">
                <a:defRPr/>
              </a:pPr>
              <a:r>
                <a:rPr lang="zh-CN" altLang="en-US" sz="2000" kern="10" dirty="0">
                  <a:ln w="6350">
                    <a:noFill/>
                    <a:round/>
                  </a:ln>
                  <a:solidFill>
                    <a:schemeClr val="bg1"/>
                  </a:solidFill>
                  <a:latin typeface="微软雅黑" panose="020B0503020204020204" pitchFamily="34" charset="-122"/>
                  <a:ea typeface="微软雅黑" panose="020B0503020204020204" pitchFamily="34" charset="-122"/>
                  <a:cs typeface="Arial" panose="020B0604020202020204"/>
                </a:rPr>
                <a:t>单击此处添加文本</a:t>
              </a:r>
            </a:p>
          </p:txBody>
        </p:sp>
      </p:grpSp>
      <p:sp>
        <p:nvSpPr>
          <p:cNvPr id="16" name="TextBox 20"/>
          <p:cNvSpPr txBox="1"/>
          <p:nvPr/>
        </p:nvSpPr>
        <p:spPr bwMode="auto">
          <a:xfrm>
            <a:off x="2761050" y="4023679"/>
            <a:ext cx="3683159" cy="646331"/>
          </a:xfrm>
          <a:prstGeom prst="rect">
            <a:avLst/>
          </a:prstGeom>
          <a:noFill/>
        </p:spPr>
        <p:txBody>
          <a:bodyPr vert="horz" wrap="square" lIns="91440" tIns="45720" rIns="91440" bIns="45720" numCol="1" anchor="t" anchorCtr="0" compatLnSpc="1">
            <a:spAutoFit/>
          </a:bodyPr>
          <a:lstStyle/>
          <a:p>
            <a:pPr algn="ctr" fontAlgn="base">
              <a:lnSpc>
                <a:spcPct val="150000"/>
              </a:lnSpc>
              <a:spcBef>
                <a:spcPct val="0"/>
              </a:spcBef>
              <a:spcAft>
                <a:spcPct val="0"/>
              </a:spcAft>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p>
        </p:txBody>
      </p:sp>
    </p:spTree>
  </p:cSld>
  <p:clrMapOvr>
    <a:masterClrMapping/>
  </p:clrMapOvr>
  <p:transition spd="slow" advTm="2556">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300"/>
                                        <p:tgtEl>
                                          <p:spTgt spid="5"/>
                                        </p:tgtEl>
                                      </p:cBhvr>
                                    </p:animEffect>
                                  </p:childTnLst>
                                </p:cTn>
                              </p:par>
                              <p:par>
                                <p:cTn id="8" presetID="22" presetClass="entr" presetSubtype="2" fill="hold" nodeType="withEffect">
                                  <p:stCondLst>
                                    <p:cond delay="100"/>
                                  </p:stCondLst>
                                  <p:childTnLst>
                                    <p:set>
                                      <p:cBhvr>
                                        <p:cTn id="9" dur="1" fill="hold">
                                          <p:stCondLst>
                                            <p:cond delay="0"/>
                                          </p:stCondLst>
                                        </p:cTn>
                                        <p:tgtEl>
                                          <p:spTgt spid="13"/>
                                        </p:tgtEl>
                                        <p:attrNameLst>
                                          <p:attrName>style.visibility</p:attrName>
                                        </p:attrNameLst>
                                      </p:cBhvr>
                                      <p:to>
                                        <p:strVal val="visible"/>
                                      </p:to>
                                    </p:set>
                                    <p:animEffect transition="in" filter="wipe(right)">
                                      <p:cBhvr>
                                        <p:cTn id="10" dur="300"/>
                                        <p:tgtEl>
                                          <p:spTgt spid="13"/>
                                        </p:tgtEl>
                                      </p:cBhvr>
                                    </p:animEffect>
                                  </p:childTnLst>
                                </p:cTn>
                              </p:par>
                              <p:par>
                                <p:cTn id="11" presetID="22" presetClass="entr" presetSubtype="4" fill="hold" nodeType="withEffect">
                                  <p:stCondLst>
                                    <p:cond delay="200"/>
                                  </p:stCondLst>
                                  <p:childTnLst>
                                    <p:set>
                                      <p:cBhvr>
                                        <p:cTn id="12" dur="1" fill="hold">
                                          <p:stCondLst>
                                            <p:cond delay="0"/>
                                          </p:stCondLst>
                                        </p:cTn>
                                        <p:tgtEl>
                                          <p:spTgt spid="9"/>
                                        </p:tgtEl>
                                        <p:attrNameLst>
                                          <p:attrName>style.visibility</p:attrName>
                                        </p:attrNameLst>
                                      </p:cBhvr>
                                      <p:to>
                                        <p:strVal val="visible"/>
                                      </p:to>
                                    </p:set>
                                    <p:animEffect transition="in" filter="wipe(down)">
                                      <p:cBhvr>
                                        <p:cTn id="13" dur="300"/>
                                        <p:tgtEl>
                                          <p:spTgt spid="9"/>
                                        </p:tgtEl>
                                      </p:cBhvr>
                                    </p:animEffect>
                                  </p:childTnLst>
                                </p:cTn>
                              </p:par>
                            </p:childTnLst>
                          </p:cTn>
                        </p:par>
                        <p:par>
                          <p:cTn id="14" fill="hold">
                            <p:stCondLst>
                              <p:cond delay="500"/>
                            </p:stCondLst>
                            <p:childTnLst>
                              <p:par>
                                <p:cTn id="15" presetID="26" presetClass="emph" presetSubtype="0" fill="hold" nodeType="afterEffect">
                                  <p:stCondLst>
                                    <p:cond delay="0"/>
                                  </p:stCondLst>
                                  <p:childTnLst>
                                    <p:animEffect transition="out" filter="fade">
                                      <p:cBhvr>
                                        <p:cTn id="16" dur="500" tmFilter="0, 0; .2, .5; .8, .5; 1, 0"/>
                                        <p:tgtEl>
                                          <p:spTgt spid="5"/>
                                        </p:tgtEl>
                                      </p:cBhvr>
                                    </p:animEffect>
                                    <p:animScale>
                                      <p:cBhvr>
                                        <p:cTn id="17" dur="250" autoRev="1" fill="hold"/>
                                        <p:tgtEl>
                                          <p:spTgt spid="5"/>
                                        </p:tgtEl>
                                      </p:cBhvr>
                                      <p:by x="105000" y="105000"/>
                                    </p:animScale>
                                  </p:childTnLst>
                                </p:cTn>
                              </p:par>
                              <p:par>
                                <p:cTn id="18" presetID="26" presetClass="emph" presetSubtype="0" fill="hold" nodeType="withEffect">
                                  <p:stCondLst>
                                    <p:cond delay="0"/>
                                  </p:stCondLst>
                                  <p:childTnLst>
                                    <p:animEffect transition="out" filter="fade">
                                      <p:cBhvr>
                                        <p:cTn id="19" dur="500" tmFilter="0, 0; .2, .5; .8, .5; 1, 0"/>
                                        <p:tgtEl>
                                          <p:spTgt spid="13"/>
                                        </p:tgtEl>
                                      </p:cBhvr>
                                    </p:animEffect>
                                    <p:animScale>
                                      <p:cBhvr>
                                        <p:cTn id="20" dur="250" autoRev="1" fill="hold"/>
                                        <p:tgtEl>
                                          <p:spTgt spid="13"/>
                                        </p:tgtEl>
                                      </p:cBhvr>
                                      <p:by x="105000" y="105000"/>
                                    </p:animScale>
                                  </p:childTnLst>
                                </p:cTn>
                              </p:par>
                              <p:par>
                                <p:cTn id="21" presetID="26" presetClass="emph" presetSubtype="0" fill="hold" nodeType="withEffect">
                                  <p:stCondLst>
                                    <p:cond delay="0"/>
                                  </p:stCondLst>
                                  <p:childTnLst>
                                    <p:animEffect transition="out" filter="fade">
                                      <p:cBhvr>
                                        <p:cTn id="22" dur="500" tmFilter="0, 0; .2, .5; .8, .5; 1, 0"/>
                                        <p:tgtEl>
                                          <p:spTgt spid="9"/>
                                        </p:tgtEl>
                                      </p:cBhvr>
                                    </p:animEffect>
                                    <p:animScale>
                                      <p:cBhvr>
                                        <p:cTn id="23" dur="250" autoRev="1" fill="hold"/>
                                        <p:tgtEl>
                                          <p:spTgt spid="9"/>
                                        </p:tgtEl>
                                      </p:cBhvr>
                                      <p:by x="105000" y="105000"/>
                                    </p:animScale>
                                  </p:childTnLst>
                                </p:cTn>
                              </p:par>
                              <p:par>
                                <p:cTn id="24" presetID="10" presetClass="entr" presetSubtype="0" fill="hold" grpId="0" nodeType="withEffect">
                                  <p:stCondLst>
                                    <p:cond delay="0"/>
                                  </p:stCondLst>
                                  <p:childTnLst>
                                    <p:set>
                                      <p:cBhvr>
                                        <p:cTn id="25" dur="1" fill="hold">
                                          <p:stCondLst>
                                            <p:cond delay="0"/>
                                          </p:stCondLst>
                                        </p:cTn>
                                        <p:tgtEl>
                                          <p:spTgt spid="4"/>
                                        </p:tgtEl>
                                        <p:attrNameLst>
                                          <p:attrName>style.visibility</p:attrName>
                                        </p:attrNameLst>
                                      </p:cBhvr>
                                      <p:to>
                                        <p:strVal val="visible"/>
                                      </p:to>
                                    </p:set>
                                    <p:animEffect transition="in" filter="fade">
                                      <p:cBhvr>
                                        <p:cTn id="26" dur="500"/>
                                        <p:tgtEl>
                                          <p:spTgt spid="4"/>
                                        </p:tgtEl>
                                      </p:cBhvr>
                                    </p:animEffect>
                                  </p:childTnLst>
                                </p:cTn>
                              </p:par>
                            </p:childTnLst>
                          </p:cTn>
                        </p:par>
                        <p:par>
                          <p:cTn id="27" fill="hold">
                            <p:stCondLst>
                              <p:cond delay="1000"/>
                            </p:stCondLst>
                            <p:childTnLst>
                              <p:par>
                                <p:cTn id="28" presetID="22" presetClass="entr" presetSubtype="2" fill="hold" grpId="0" nodeType="after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right)">
                                      <p:cBhvr>
                                        <p:cTn id="30" dur="500"/>
                                        <p:tgtEl>
                                          <p:spTgt spid="12"/>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wipe(up)">
                                      <p:cBhvr>
                                        <p:cTn id="33" dur="500"/>
                                        <p:tgtEl>
                                          <p:spTgt spid="16"/>
                                        </p:tgtEl>
                                      </p:cBhvr>
                                    </p:animEffect>
                                  </p:childTnLst>
                                </p:cTn>
                              </p:par>
                              <p:par>
                                <p:cTn id="34" presetID="22" presetClass="entr" presetSubtype="8"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wipe(left)">
                                      <p:cBhvr>
                                        <p:cTn id="36"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8" grpId="0"/>
      <p:bldP spid="12" grpId="0"/>
      <p:bldP spid="1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组合 21"/>
          <p:cNvGrpSpPr/>
          <p:nvPr/>
        </p:nvGrpSpPr>
        <p:grpSpPr>
          <a:xfrm>
            <a:off x="6284257" y="2040948"/>
            <a:ext cx="1691794" cy="1631904"/>
            <a:chOff x="6284257" y="2040948"/>
            <a:chExt cx="1691794" cy="1631904"/>
          </a:xfrm>
        </p:grpSpPr>
        <p:grpSp>
          <p:nvGrpSpPr>
            <p:cNvPr id="18" name="组合 17"/>
            <p:cNvGrpSpPr/>
            <p:nvPr/>
          </p:nvGrpSpPr>
          <p:grpSpPr>
            <a:xfrm rot="3885691">
              <a:off x="6284257" y="2181334"/>
              <a:ext cx="1491518" cy="1491518"/>
              <a:chOff x="6322504" y="2353008"/>
              <a:chExt cx="1491518" cy="1491518"/>
            </a:xfrm>
          </p:grpSpPr>
          <p:sp>
            <p:nvSpPr>
              <p:cNvPr id="4" name="椭圆 3"/>
              <p:cNvSpPr/>
              <p:nvPr/>
            </p:nvSpPr>
            <p:spPr>
              <a:xfrm>
                <a:off x="6322504" y="2353008"/>
                <a:ext cx="1491518" cy="1491518"/>
              </a:xfrm>
              <a:prstGeom prst="ellipse">
                <a:avLst/>
              </a:pr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5" name="椭圆 4"/>
              <p:cNvSpPr/>
              <p:nvPr/>
            </p:nvSpPr>
            <p:spPr>
              <a:xfrm rot="17870640">
                <a:off x="6375772" y="2388474"/>
                <a:ext cx="1314966" cy="1314966"/>
              </a:xfrm>
              <a:prstGeom prst="ellipse">
                <a:avLst/>
              </a:prstGeom>
              <a:solidFill>
                <a:schemeClr val="bg1"/>
              </a:solidFill>
              <a:ln w="25400" cap="flat" cmpd="sng" algn="ctr">
                <a:noFill/>
                <a:prstDash val="solid"/>
              </a:ln>
              <a:effectLst/>
            </p:spPr>
            <p:txBody>
              <a:bodyPr rtlCol="0" anchor="ctr"/>
              <a:lstStyle/>
              <a:p>
                <a:pPr algn="ctr">
                  <a:lnSpc>
                    <a:spcPct val="130000"/>
                  </a:lnSpc>
                  <a:defRPr/>
                </a:pPr>
                <a:r>
                  <a:rPr lang="zh-CN" altLang="en-US" sz="1350" kern="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grpSp>
        <p:sp>
          <p:nvSpPr>
            <p:cNvPr id="6" name="椭圆 5"/>
            <p:cNvSpPr/>
            <p:nvPr/>
          </p:nvSpPr>
          <p:spPr>
            <a:xfrm>
              <a:off x="7397160" y="2040948"/>
              <a:ext cx="578891" cy="578891"/>
            </a:xfrm>
            <a:prstGeom prst="ellipse">
              <a:avLst/>
            </a:prstGeom>
            <a:solidFill>
              <a:schemeClr val="accent1"/>
            </a:solidFill>
            <a:ln w="25400" cap="flat" cmpd="sng" algn="ctr">
              <a:noFill/>
              <a:prstDash val="solid"/>
            </a:ln>
            <a:effectLst/>
            <a:scene3d>
              <a:camera prst="orthographicFront">
                <a:rot lat="0" lon="0" rev="0"/>
              </a:camera>
              <a:lightRig rig="brightRoom" dir="t">
                <a:rot lat="0" lon="0" rev="600000"/>
              </a:lightRig>
            </a:scene3d>
            <a:sp3d prstMaterial="metal"/>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rPr>
                <a:t>4</a:t>
              </a:r>
              <a:endParaRPr kumimoji="0" lang="zh-CN" altLang="en-US"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1" name="组合 20"/>
          <p:cNvGrpSpPr/>
          <p:nvPr/>
        </p:nvGrpSpPr>
        <p:grpSpPr>
          <a:xfrm>
            <a:off x="4637463" y="1047985"/>
            <a:ext cx="1774016" cy="1981562"/>
            <a:chOff x="4637463" y="1047985"/>
            <a:chExt cx="1774016" cy="1981562"/>
          </a:xfrm>
        </p:grpSpPr>
        <p:grpSp>
          <p:nvGrpSpPr>
            <p:cNvPr id="16" name="组合 15"/>
            <p:cNvGrpSpPr/>
            <p:nvPr/>
          </p:nvGrpSpPr>
          <p:grpSpPr>
            <a:xfrm rot="2379839">
              <a:off x="4637463" y="1199029"/>
              <a:ext cx="1774016" cy="1830518"/>
              <a:chOff x="4781424" y="2082764"/>
              <a:chExt cx="1774016" cy="1830518"/>
            </a:xfrm>
          </p:grpSpPr>
          <p:sp>
            <p:nvSpPr>
              <p:cNvPr id="7" name="椭圆 5"/>
              <p:cNvSpPr/>
              <p:nvPr/>
            </p:nvSpPr>
            <p:spPr>
              <a:xfrm rot="18278543">
                <a:off x="4757146" y="2114988"/>
                <a:ext cx="1830518" cy="1766070"/>
              </a:xfrm>
              <a:custGeom>
                <a:avLst/>
                <a:gdLst/>
                <a:ahLst/>
                <a:cxnLst/>
                <a:rect l="l" t="t" r="r" b="b"/>
                <a:pathLst>
                  <a:path w="2474483" h="2387362">
                    <a:moveTo>
                      <a:pt x="1023374" y="0"/>
                    </a:moveTo>
                    <a:cubicBezTo>
                      <a:pt x="1588568" y="0"/>
                      <a:pt x="2046748" y="458180"/>
                      <a:pt x="2046748" y="1023374"/>
                    </a:cubicBezTo>
                    <a:cubicBezTo>
                      <a:pt x="2046748" y="1223242"/>
                      <a:pt x="1989452" y="1409727"/>
                      <a:pt x="1889481" y="1566731"/>
                    </a:cubicBezTo>
                    <a:lnTo>
                      <a:pt x="2190488" y="1759978"/>
                    </a:lnTo>
                    <a:lnTo>
                      <a:pt x="2324749" y="1550850"/>
                    </a:lnTo>
                    <a:lnTo>
                      <a:pt x="2474483" y="2237628"/>
                    </a:lnTo>
                    <a:lnTo>
                      <a:pt x="1787705" y="2387362"/>
                    </a:lnTo>
                    <a:lnTo>
                      <a:pt x="1921966" y="2178234"/>
                    </a:lnTo>
                    <a:lnTo>
                      <a:pt x="1518160" y="1918989"/>
                    </a:lnTo>
                    <a:cubicBezTo>
                      <a:pt x="1371651" y="2000515"/>
                      <a:pt x="1202912" y="2046748"/>
                      <a:pt x="1023374" y="2046748"/>
                    </a:cubicBezTo>
                    <a:cubicBezTo>
                      <a:pt x="458180" y="2046748"/>
                      <a:pt x="0" y="1588568"/>
                      <a:pt x="0" y="1023374"/>
                    </a:cubicBezTo>
                    <a:cubicBezTo>
                      <a:pt x="0" y="458180"/>
                      <a:pt x="458180" y="0"/>
                      <a:pt x="1023374"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ea typeface="微软雅黑" panose="020B0503020204020204" pitchFamily="34" charset="-122"/>
                </a:endParaRPr>
              </a:p>
            </p:txBody>
          </p:sp>
          <p:sp>
            <p:nvSpPr>
              <p:cNvPr id="8" name="椭圆 7"/>
              <p:cNvSpPr/>
              <p:nvPr/>
            </p:nvSpPr>
            <p:spPr>
              <a:xfrm rot="19643023">
                <a:off x="4781424" y="2348323"/>
                <a:ext cx="1384981" cy="1384981"/>
              </a:xfrm>
              <a:prstGeom prst="ellipse">
                <a:avLst/>
              </a:prstGeom>
              <a:solidFill>
                <a:schemeClr val="bg1"/>
              </a:solidFill>
              <a:ln w="25400" cap="flat" cmpd="sng" algn="ctr">
                <a:noFill/>
                <a:prstDash val="solid"/>
              </a:ln>
              <a:effectLst/>
            </p:spPr>
            <p:txBody>
              <a:bodyPr rtlCol="0" anchor="ctr"/>
              <a:lstStyle/>
              <a:p>
                <a:pPr algn="ctr">
                  <a:lnSpc>
                    <a:spcPct val="130000"/>
                  </a:lnSpc>
                </a:pPr>
                <a:r>
                  <a:rPr lang="zh-CN" altLang="en-US" sz="1350" kern="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grpSp>
        <p:sp>
          <p:nvSpPr>
            <p:cNvPr id="9" name="椭圆 8"/>
            <p:cNvSpPr/>
            <p:nvPr/>
          </p:nvSpPr>
          <p:spPr>
            <a:xfrm>
              <a:off x="5527529" y="1047985"/>
              <a:ext cx="578891" cy="578891"/>
            </a:xfrm>
            <a:prstGeom prst="ellipse">
              <a:avLst/>
            </a:prstGeom>
            <a:solidFill>
              <a:schemeClr val="accent1"/>
            </a:solidFill>
            <a:ln w="25400" cap="flat" cmpd="sng" algn="ctr">
              <a:noFill/>
              <a:prstDash val="solid"/>
            </a:ln>
            <a:effectLst/>
            <a:scene3d>
              <a:camera prst="orthographicFront">
                <a:rot lat="0" lon="0" rev="0"/>
              </a:camera>
              <a:lightRig rig="brightRoom" dir="t">
                <a:rot lat="0" lon="0" rev="600000"/>
              </a:lightRig>
            </a:scene3d>
            <a:sp3d prstMaterial="metal"/>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rPr>
                <a:t>3</a:t>
              </a:r>
              <a:endParaRPr kumimoji="0" lang="zh-CN" altLang="en-US"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grpSp>
        <p:nvGrpSpPr>
          <p:cNvPr id="20" name="组合 19"/>
          <p:cNvGrpSpPr/>
          <p:nvPr/>
        </p:nvGrpSpPr>
        <p:grpSpPr>
          <a:xfrm>
            <a:off x="2751017" y="1160847"/>
            <a:ext cx="1766070" cy="1962334"/>
            <a:chOff x="2751017" y="1160847"/>
            <a:chExt cx="1766070" cy="1962334"/>
          </a:xfrm>
        </p:grpSpPr>
        <p:sp>
          <p:nvSpPr>
            <p:cNvPr id="10" name="椭圆 5"/>
            <p:cNvSpPr/>
            <p:nvPr/>
          </p:nvSpPr>
          <p:spPr>
            <a:xfrm rot="18235563">
              <a:off x="2718793" y="1324887"/>
              <a:ext cx="1830518" cy="1766070"/>
            </a:xfrm>
            <a:custGeom>
              <a:avLst/>
              <a:gdLst/>
              <a:ahLst/>
              <a:cxnLst/>
              <a:rect l="l" t="t" r="r" b="b"/>
              <a:pathLst>
                <a:path w="2474483" h="2387362">
                  <a:moveTo>
                    <a:pt x="1023374" y="0"/>
                  </a:moveTo>
                  <a:cubicBezTo>
                    <a:pt x="1588568" y="0"/>
                    <a:pt x="2046748" y="458180"/>
                    <a:pt x="2046748" y="1023374"/>
                  </a:cubicBezTo>
                  <a:cubicBezTo>
                    <a:pt x="2046748" y="1223242"/>
                    <a:pt x="1989452" y="1409727"/>
                    <a:pt x="1889481" y="1566731"/>
                  </a:cubicBezTo>
                  <a:lnTo>
                    <a:pt x="2190488" y="1759978"/>
                  </a:lnTo>
                  <a:lnTo>
                    <a:pt x="2324749" y="1550850"/>
                  </a:lnTo>
                  <a:lnTo>
                    <a:pt x="2474483" y="2237628"/>
                  </a:lnTo>
                  <a:lnTo>
                    <a:pt x="1787705" y="2387362"/>
                  </a:lnTo>
                  <a:lnTo>
                    <a:pt x="1921966" y="2178234"/>
                  </a:lnTo>
                  <a:lnTo>
                    <a:pt x="1518160" y="1918989"/>
                  </a:lnTo>
                  <a:cubicBezTo>
                    <a:pt x="1371651" y="2000515"/>
                    <a:pt x="1202912" y="2046748"/>
                    <a:pt x="1023374" y="2046748"/>
                  </a:cubicBezTo>
                  <a:cubicBezTo>
                    <a:pt x="458180" y="2046748"/>
                    <a:pt x="0" y="1588568"/>
                    <a:pt x="0" y="1023374"/>
                  </a:cubicBezTo>
                  <a:cubicBezTo>
                    <a:pt x="0" y="458180"/>
                    <a:pt x="458180" y="0"/>
                    <a:pt x="1023374" y="0"/>
                  </a:cubicBezTo>
                  <a:close/>
                </a:path>
              </a:pathLst>
            </a:custGeom>
            <a:solidFill>
              <a:schemeClr val="accent1"/>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EDD7CB"/>
                </a:solidFill>
                <a:effectLst/>
                <a:uLnTx/>
                <a:uFillTx/>
                <a:ea typeface="微软雅黑" panose="020B0503020204020204" pitchFamily="34" charset="-122"/>
              </a:endParaRPr>
            </a:p>
          </p:txBody>
        </p:sp>
        <p:sp>
          <p:nvSpPr>
            <p:cNvPr id="11" name="椭圆 10"/>
            <p:cNvSpPr/>
            <p:nvPr/>
          </p:nvSpPr>
          <p:spPr>
            <a:xfrm>
              <a:off x="2751780" y="1575640"/>
              <a:ext cx="1384981" cy="1384981"/>
            </a:xfrm>
            <a:prstGeom prst="ellipse">
              <a:avLst/>
            </a:prstGeom>
            <a:solidFill>
              <a:schemeClr val="bg1"/>
            </a:solidFill>
            <a:ln w="25400" cap="flat" cmpd="sng" algn="ctr">
              <a:noFill/>
              <a:prstDash val="solid"/>
            </a:ln>
            <a:effectLst/>
          </p:spPr>
          <p:txBody>
            <a:bodyPr rtlCol="0" anchor="ctr"/>
            <a:lstStyle/>
            <a:p>
              <a:pPr algn="ctr">
                <a:lnSpc>
                  <a:spcPct val="130000"/>
                </a:lnSpc>
              </a:pPr>
              <a:r>
                <a:rPr lang="zh-CN" altLang="en-US" sz="1350" kern="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15" name="椭圆 14"/>
            <p:cNvSpPr/>
            <p:nvPr/>
          </p:nvSpPr>
          <p:spPr>
            <a:xfrm>
              <a:off x="3126336" y="1160847"/>
              <a:ext cx="578891" cy="578891"/>
            </a:xfrm>
            <a:prstGeom prst="ellipse">
              <a:avLst/>
            </a:prstGeom>
            <a:solidFill>
              <a:schemeClr val="accent1"/>
            </a:solidFill>
            <a:ln w="25400" cap="flat" cmpd="sng" algn="ctr">
              <a:noFill/>
              <a:prstDash val="solid"/>
            </a:ln>
            <a:effectLst/>
            <a:scene3d>
              <a:camera prst="orthographicFront">
                <a:rot lat="0" lon="0" rev="0"/>
              </a:camera>
              <a:lightRig rig="brightRoom" dir="t">
                <a:rot lat="0" lon="0" rev="600000"/>
              </a:lightRig>
            </a:scene3d>
            <a:sp3d prstMaterial="metal"/>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rPr>
                <a:t>2</a:t>
              </a:r>
              <a:endParaRPr kumimoji="0" lang="zh-CN" altLang="en-US"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
        <p:nvSpPr>
          <p:cNvPr id="3" name="标题 2"/>
          <p:cNvSpPr>
            <a:spLocks noGrp="1"/>
          </p:cNvSpPr>
          <p:nvPr>
            <p:ph type="title"/>
          </p:nvPr>
        </p:nvSpPr>
        <p:spPr/>
        <p:txBody>
          <a:bodyPr/>
          <a:lstStyle/>
          <a:p>
            <a:r>
              <a:rPr lang="zh-CN" altLang="en-US" dirty="0"/>
              <a:t>单击添加标题</a:t>
            </a:r>
          </a:p>
        </p:txBody>
      </p:sp>
      <p:grpSp>
        <p:nvGrpSpPr>
          <p:cNvPr id="19" name="组合 18"/>
          <p:cNvGrpSpPr/>
          <p:nvPr/>
        </p:nvGrpSpPr>
        <p:grpSpPr>
          <a:xfrm>
            <a:off x="863568" y="1983488"/>
            <a:ext cx="2072413" cy="1830518"/>
            <a:chOff x="863568" y="1983488"/>
            <a:chExt cx="2072413" cy="1830518"/>
          </a:xfrm>
        </p:grpSpPr>
        <p:grpSp>
          <p:nvGrpSpPr>
            <p:cNvPr id="2" name="组合 1"/>
            <p:cNvGrpSpPr/>
            <p:nvPr/>
          </p:nvGrpSpPr>
          <p:grpSpPr>
            <a:xfrm rot="17594361">
              <a:off x="1137687" y="2015712"/>
              <a:ext cx="1830518" cy="1766070"/>
              <a:chOff x="1137687" y="2015712"/>
              <a:chExt cx="1830518" cy="1766070"/>
            </a:xfrm>
          </p:grpSpPr>
          <p:sp>
            <p:nvSpPr>
              <p:cNvPr id="12" name="椭圆 5"/>
              <p:cNvSpPr/>
              <p:nvPr/>
            </p:nvSpPr>
            <p:spPr>
              <a:xfrm>
                <a:off x="1137687" y="2015712"/>
                <a:ext cx="1830518" cy="1766070"/>
              </a:xfrm>
              <a:custGeom>
                <a:avLst/>
                <a:gdLst/>
                <a:ahLst/>
                <a:cxnLst/>
                <a:rect l="l" t="t" r="r" b="b"/>
                <a:pathLst>
                  <a:path w="2474483" h="2387362">
                    <a:moveTo>
                      <a:pt x="1023374" y="0"/>
                    </a:moveTo>
                    <a:cubicBezTo>
                      <a:pt x="1588568" y="0"/>
                      <a:pt x="2046748" y="458180"/>
                      <a:pt x="2046748" y="1023374"/>
                    </a:cubicBezTo>
                    <a:cubicBezTo>
                      <a:pt x="2046748" y="1223242"/>
                      <a:pt x="1989452" y="1409727"/>
                      <a:pt x="1889481" y="1566731"/>
                    </a:cubicBezTo>
                    <a:lnTo>
                      <a:pt x="2190488" y="1759978"/>
                    </a:lnTo>
                    <a:lnTo>
                      <a:pt x="2324749" y="1550850"/>
                    </a:lnTo>
                    <a:lnTo>
                      <a:pt x="2474483" y="2237628"/>
                    </a:lnTo>
                    <a:lnTo>
                      <a:pt x="1787705" y="2387362"/>
                    </a:lnTo>
                    <a:lnTo>
                      <a:pt x="1921966" y="2178234"/>
                    </a:lnTo>
                    <a:lnTo>
                      <a:pt x="1518160" y="1918989"/>
                    </a:lnTo>
                    <a:cubicBezTo>
                      <a:pt x="1371651" y="2000515"/>
                      <a:pt x="1202912" y="2046748"/>
                      <a:pt x="1023374" y="2046748"/>
                    </a:cubicBezTo>
                    <a:cubicBezTo>
                      <a:pt x="458180" y="2046748"/>
                      <a:pt x="0" y="1588568"/>
                      <a:pt x="0" y="1023374"/>
                    </a:cubicBezTo>
                    <a:cubicBezTo>
                      <a:pt x="0" y="458180"/>
                      <a:pt x="458180" y="0"/>
                      <a:pt x="1023374" y="0"/>
                    </a:cubicBezTo>
                    <a:close/>
                  </a:path>
                </a:pathLst>
              </a:custGeom>
              <a:solidFill>
                <a:schemeClr val="accent1"/>
              </a:solidFill>
              <a:ln w="25400" cap="flat" cmpd="sng" algn="ctr">
                <a:noFill/>
                <a:prstDash val="solid"/>
              </a:ln>
              <a:effectLst/>
              <a:scene3d>
                <a:camera prst="orthographicFront">
                  <a:rot lat="0" lon="0" rev="0"/>
                </a:camera>
                <a:lightRig rig="brightRoom" dir="t">
                  <a:rot lat="0" lon="0" rev="600000"/>
                </a:lightRig>
              </a:scene3d>
              <a:sp3d prstMaterial="metal"/>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EDD7CB"/>
                  </a:solidFill>
                  <a:effectLst/>
                  <a:uLnTx/>
                  <a:uFillTx/>
                  <a:ea typeface="微软雅黑" panose="020B0503020204020204" pitchFamily="34" charset="-122"/>
                </a:endParaRPr>
              </a:p>
            </p:txBody>
          </p:sp>
          <p:sp>
            <p:nvSpPr>
              <p:cNvPr id="13" name="椭圆 12"/>
              <p:cNvSpPr/>
              <p:nvPr/>
            </p:nvSpPr>
            <p:spPr>
              <a:xfrm rot="3767680">
                <a:off x="1198458" y="2047090"/>
                <a:ext cx="1384981" cy="1384981"/>
              </a:xfrm>
              <a:prstGeom prst="ellipse">
                <a:avLst/>
              </a:prstGeom>
              <a:solidFill>
                <a:schemeClr val="bg1"/>
              </a:solidFill>
              <a:ln w="25400" cap="flat" cmpd="sng" algn="ctr">
                <a:noFill/>
                <a:prstDash val="solid"/>
              </a:ln>
              <a:effectLst/>
            </p:spPr>
            <p:txBody>
              <a:bodyPr rtlCol="0" anchor="ctr"/>
              <a:lstStyle/>
              <a:p>
                <a:pPr algn="ctr">
                  <a:lnSpc>
                    <a:spcPct val="130000"/>
                  </a:lnSpc>
                </a:pPr>
                <a:r>
                  <a:rPr lang="zh-CN" altLang="en-US" sz="1350" kern="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grpSp>
        <p:sp>
          <p:nvSpPr>
            <p:cNvPr id="14" name="椭圆 13"/>
            <p:cNvSpPr/>
            <p:nvPr/>
          </p:nvSpPr>
          <p:spPr>
            <a:xfrm>
              <a:off x="863568" y="2396970"/>
              <a:ext cx="578891" cy="578891"/>
            </a:xfrm>
            <a:prstGeom prst="ellipse">
              <a:avLst/>
            </a:prstGeom>
            <a:solidFill>
              <a:schemeClr val="accent1"/>
            </a:solidFill>
            <a:ln w="25400" cap="flat" cmpd="sng" algn="ctr">
              <a:noFill/>
              <a:prstDash val="solid"/>
            </a:ln>
            <a:effectLst/>
            <a:scene3d>
              <a:camera prst="orthographicFront">
                <a:rot lat="0" lon="0" rev="0"/>
              </a:camera>
              <a:lightRig rig="brightRoom" dir="t">
                <a:rot lat="0" lon="0" rev="600000"/>
              </a:lightRig>
            </a:scene3d>
            <a:sp3d prstMaterial="metal"/>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rPr>
                <a:t>1</a:t>
              </a:r>
              <a:endParaRPr kumimoji="0" lang="zh-CN" altLang="en-US" sz="3600" b="0" i="0" u="none" strike="noStrike" kern="0" cap="none" spc="0" normalizeH="0" baseline="0" noProof="0" dirty="0">
                <a:ln>
                  <a:noFill/>
                </a:ln>
                <a:solidFill>
                  <a:schemeClr val="bg1"/>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sp>
        <p:nvSpPr>
          <p:cNvPr id="23" name="TextBox 20"/>
          <p:cNvSpPr txBox="1"/>
          <p:nvPr/>
        </p:nvSpPr>
        <p:spPr bwMode="auto">
          <a:xfrm>
            <a:off x="1126326" y="4218642"/>
            <a:ext cx="7478122" cy="369332"/>
          </a:xfrm>
          <a:prstGeom prst="rect">
            <a:avLst/>
          </a:prstGeom>
          <a:noFill/>
        </p:spPr>
        <p:txBody>
          <a:bodyPr vert="horz" wrap="square" lIns="91440" tIns="45720" rIns="91440" bIns="45720" numCol="1" anchor="t" anchorCtr="0" compatLnSpc="1">
            <a:spAutoFit/>
          </a:bodyPr>
          <a:lstStyle/>
          <a:p>
            <a:pPr algn="ctr" fontAlgn="base">
              <a:lnSpc>
                <a:spcPct val="150000"/>
              </a:lnSpc>
              <a:spcBef>
                <a:spcPct val="0"/>
              </a:spcBef>
              <a:spcAft>
                <a:spcPct val="0"/>
              </a:spcAft>
              <a:defRPr/>
            </a:pPr>
            <a:r>
              <a:rPr lang="zh-CN" altLang="en-US" sz="1200" kern="0" dirty="0">
                <a:solidFill>
                  <a:schemeClr val="bg1">
                    <a:lumMod val="50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添加段落文本</a:t>
            </a:r>
          </a:p>
        </p:txBody>
      </p:sp>
    </p:spTree>
  </p:cSld>
  <p:clrMapOvr>
    <a:masterClrMapping/>
  </p:clrMapOvr>
  <p:transition spd="slow" advTm="2282">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p:tgtEl>
                                          <p:spTgt spid="19"/>
                                        </p:tgtEl>
                                        <p:attrNameLst>
                                          <p:attrName>ppt_x</p:attrName>
                                        </p:attrNameLst>
                                      </p:cBhvr>
                                      <p:tavLst>
                                        <p:tav tm="0">
                                          <p:val>
                                            <p:strVal val="#ppt_x-#ppt_w*1.125000"/>
                                          </p:val>
                                        </p:tav>
                                        <p:tav tm="100000">
                                          <p:val>
                                            <p:strVal val="#ppt_x"/>
                                          </p:val>
                                        </p:tav>
                                      </p:tavLst>
                                    </p:anim>
                                    <p:animEffect transition="in" filter="wipe(right)">
                                      <p:cBhvr>
                                        <p:cTn id="8" dur="500"/>
                                        <p:tgtEl>
                                          <p:spTgt spid="19"/>
                                        </p:tgtEl>
                                      </p:cBhvr>
                                    </p:animEffect>
                                  </p:childTnLst>
                                </p:cTn>
                              </p:par>
                              <p:par>
                                <p:cTn id="9" presetID="12" presetClass="entr" presetSubtype="8" fill="hold" nodeType="withEffect">
                                  <p:stCondLst>
                                    <p:cond delay="20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p:tgtEl>
                                          <p:spTgt spid="20"/>
                                        </p:tgtEl>
                                        <p:attrNameLst>
                                          <p:attrName>ppt_x</p:attrName>
                                        </p:attrNameLst>
                                      </p:cBhvr>
                                      <p:tavLst>
                                        <p:tav tm="0">
                                          <p:val>
                                            <p:strVal val="#ppt_x-#ppt_w*1.125000"/>
                                          </p:val>
                                        </p:tav>
                                        <p:tav tm="100000">
                                          <p:val>
                                            <p:strVal val="#ppt_x"/>
                                          </p:val>
                                        </p:tav>
                                      </p:tavLst>
                                    </p:anim>
                                    <p:animEffect transition="in" filter="wipe(right)">
                                      <p:cBhvr>
                                        <p:cTn id="12" dur="500"/>
                                        <p:tgtEl>
                                          <p:spTgt spid="20"/>
                                        </p:tgtEl>
                                      </p:cBhvr>
                                    </p:animEffect>
                                  </p:childTnLst>
                                </p:cTn>
                              </p:par>
                              <p:par>
                                <p:cTn id="13" presetID="12" presetClass="entr" presetSubtype="8" fill="hold" nodeType="withEffect">
                                  <p:stCondLst>
                                    <p:cond delay="400"/>
                                  </p:stCondLst>
                                  <p:childTnLst>
                                    <p:set>
                                      <p:cBhvr>
                                        <p:cTn id="14" dur="1" fill="hold">
                                          <p:stCondLst>
                                            <p:cond delay="0"/>
                                          </p:stCondLst>
                                        </p:cTn>
                                        <p:tgtEl>
                                          <p:spTgt spid="21"/>
                                        </p:tgtEl>
                                        <p:attrNameLst>
                                          <p:attrName>style.visibility</p:attrName>
                                        </p:attrNameLst>
                                      </p:cBhvr>
                                      <p:to>
                                        <p:strVal val="visible"/>
                                      </p:to>
                                    </p:set>
                                    <p:anim calcmode="lin" valueType="num">
                                      <p:cBhvr additive="base">
                                        <p:cTn id="15" dur="500"/>
                                        <p:tgtEl>
                                          <p:spTgt spid="21"/>
                                        </p:tgtEl>
                                        <p:attrNameLst>
                                          <p:attrName>ppt_x</p:attrName>
                                        </p:attrNameLst>
                                      </p:cBhvr>
                                      <p:tavLst>
                                        <p:tav tm="0">
                                          <p:val>
                                            <p:strVal val="#ppt_x-#ppt_w*1.125000"/>
                                          </p:val>
                                        </p:tav>
                                        <p:tav tm="100000">
                                          <p:val>
                                            <p:strVal val="#ppt_x"/>
                                          </p:val>
                                        </p:tav>
                                      </p:tavLst>
                                    </p:anim>
                                    <p:animEffect transition="in" filter="wipe(right)">
                                      <p:cBhvr>
                                        <p:cTn id="16" dur="500"/>
                                        <p:tgtEl>
                                          <p:spTgt spid="21"/>
                                        </p:tgtEl>
                                      </p:cBhvr>
                                    </p:animEffect>
                                  </p:childTnLst>
                                </p:cTn>
                              </p:par>
                              <p:par>
                                <p:cTn id="17" presetID="12" presetClass="entr" presetSubtype="8" fill="hold" nodeType="withEffect">
                                  <p:stCondLst>
                                    <p:cond delay="70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500"/>
                                        <p:tgtEl>
                                          <p:spTgt spid="22"/>
                                        </p:tgtEl>
                                        <p:attrNameLst>
                                          <p:attrName>ppt_x</p:attrName>
                                        </p:attrNameLst>
                                      </p:cBhvr>
                                      <p:tavLst>
                                        <p:tav tm="0">
                                          <p:val>
                                            <p:strVal val="#ppt_x-#ppt_w*1.125000"/>
                                          </p:val>
                                        </p:tav>
                                        <p:tav tm="100000">
                                          <p:val>
                                            <p:strVal val="#ppt_x"/>
                                          </p:val>
                                        </p:tav>
                                      </p:tavLst>
                                    </p:anim>
                                    <p:animEffect transition="in" filter="wipe(right)">
                                      <p:cBhvr>
                                        <p:cTn id="20" dur="500"/>
                                        <p:tgtEl>
                                          <p:spTgt spid="22"/>
                                        </p:tgtEl>
                                      </p:cBhvr>
                                    </p:animEffect>
                                  </p:childTnLst>
                                </p:cTn>
                              </p:par>
                            </p:childTnLst>
                          </p:cTn>
                        </p:par>
                        <p:par>
                          <p:cTn id="21" fill="hold">
                            <p:stCondLst>
                              <p:cond delay="500"/>
                            </p:stCondLst>
                            <p:childTnLst>
                              <p:par>
                                <p:cTn id="22" presetID="22" presetClass="entr" presetSubtype="8"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wipe(left)">
                                      <p:cBhvr>
                                        <p:cTn id="2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p:cNvSpPr>
            <a:spLocks noGrp="1"/>
          </p:cNvSpPr>
          <p:nvPr>
            <p:ph type="title"/>
          </p:nvPr>
        </p:nvSpPr>
        <p:spPr/>
        <p:txBody>
          <a:bodyPr/>
          <a:lstStyle/>
          <a:p>
            <a:r>
              <a:rPr lang="zh-CN" altLang="en-US" dirty="0"/>
              <a:t>目录页</a:t>
            </a:r>
          </a:p>
        </p:txBody>
      </p:sp>
      <p:sp>
        <p:nvSpPr>
          <p:cNvPr id="291" name="圆角矩形 3"/>
          <p:cNvSpPr/>
          <p:nvPr/>
        </p:nvSpPr>
        <p:spPr>
          <a:xfrm>
            <a:off x="3395970" y="1347614"/>
            <a:ext cx="2994410" cy="412624"/>
          </a:xfrm>
          <a:custGeom>
            <a:avLst/>
            <a:gdLst/>
            <a:ahLst/>
            <a:cxnLst/>
            <a:rect l="l" t="t" r="r" b="b"/>
            <a:pathLst>
              <a:path w="2994410" h="412624">
                <a:moveTo>
                  <a:pt x="0" y="0"/>
                </a:moveTo>
                <a:lnTo>
                  <a:pt x="2925638" y="0"/>
                </a:lnTo>
                <a:cubicBezTo>
                  <a:pt x="2963620" y="0"/>
                  <a:pt x="2994410" y="30790"/>
                  <a:pt x="2994410" y="68772"/>
                </a:cubicBezTo>
                <a:lnTo>
                  <a:pt x="2994410" y="343852"/>
                </a:lnTo>
                <a:cubicBezTo>
                  <a:pt x="2994410" y="381834"/>
                  <a:pt x="2963620" y="412624"/>
                  <a:pt x="2925638" y="412624"/>
                </a:cubicBezTo>
                <a:lnTo>
                  <a:pt x="0" y="412624"/>
                </a:lnTo>
                <a:lnTo>
                  <a:pt x="206312" y="206312"/>
                </a:lnTo>
                <a:close/>
              </a:path>
            </a:pathLst>
          </a:custGeom>
          <a:solidFill>
            <a:schemeClr val="bg1">
              <a:lumMod val="65000"/>
              <a:alpha val="50000"/>
            </a:schemeClr>
          </a:solidFill>
          <a:ln w="12700">
            <a:noFill/>
            <a:round/>
          </a:ln>
          <a:effectLst/>
        </p:spPr>
        <p:txBody>
          <a:bodyPr rtlCol="0" anchor="ctr"/>
          <a:lstStyle/>
          <a:p>
            <a:pPr algn="ctr"/>
            <a:r>
              <a:rPr lang="zh-CN" altLang="en-US" sz="1600" kern="0" dirty="0">
                <a:solidFill>
                  <a:schemeClr val="tx1">
                    <a:lumMod val="75000"/>
                    <a:lumOff val="25000"/>
                  </a:schemeClr>
                </a:solidFill>
                <a:latin typeface="Broadway" panose="04040905080B02020502" pitchFamily="82" charset="0"/>
              </a:rPr>
              <a:t>单击此处添加标题</a:t>
            </a:r>
          </a:p>
        </p:txBody>
      </p:sp>
      <p:sp>
        <p:nvSpPr>
          <p:cNvPr id="292" name="圆角矩形 10"/>
          <p:cNvSpPr/>
          <p:nvPr/>
        </p:nvSpPr>
        <p:spPr>
          <a:xfrm>
            <a:off x="2749552" y="1347614"/>
            <a:ext cx="760508" cy="412624"/>
          </a:xfrm>
          <a:custGeom>
            <a:avLst/>
            <a:gdLst/>
            <a:ahLst/>
            <a:cxnLst/>
            <a:rect l="l" t="t" r="r" b="b"/>
            <a:pathLst>
              <a:path w="760508" h="412624">
                <a:moveTo>
                  <a:pt x="68772" y="0"/>
                </a:moveTo>
                <a:lnTo>
                  <a:pt x="322746" y="0"/>
                </a:lnTo>
                <a:lnTo>
                  <a:pt x="397990" y="0"/>
                </a:lnTo>
                <a:lnTo>
                  <a:pt x="554196" y="0"/>
                </a:lnTo>
                <a:lnTo>
                  <a:pt x="760508" y="206312"/>
                </a:lnTo>
                <a:lnTo>
                  <a:pt x="554196" y="412624"/>
                </a:lnTo>
                <a:lnTo>
                  <a:pt x="397990" y="412624"/>
                </a:lnTo>
                <a:lnTo>
                  <a:pt x="322746" y="412624"/>
                </a:lnTo>
                <a:lnTo>
                  <a:pt x="68772" y="412624"/>
                </a:lnTo>
                <a:cubicBezTo>
                  <a:pt x="30790" y="412624"/>
                  <a:pt x="0" y="381834"/>
                  <a:pt x="0" y="343852"/>
                </a:cubicBezTo>
                <a:lnTo>
                  <a:pt x="0" y="68772"/>
                </a:lnTo>
                <a:cubicBezTo>
                  <a:pt x="0" y="30790"/>
                  <a:pt x="30790" y="0"/>
                  <a:pt x="68772" y="0"/>
                </a:cubicBezTo>
                <a:close/>
              </a:path>
            </a:pathLst>
          </a:custGeom>
          <a:solidFill>
            <a:schemeClr val="accent1"/>
          </a:solidFill>
          <a:ln w="12700">
            <a:noFill/>
            <a:round/>
          </a:ln>
          <a:effectLst/>
        </p:spPr>
        <p:txBody>
          <a:bodyPr rtlCol="0" anchor="ctr"/>
          <a:lstStyle/>
          <a:p>
            <a:pPr algn="ctr"/>
            <a:r>
              <a:rPr lang="en-US" altLang="zh-CN" sz="1600" kern="0" dirty="0">
                <a:solidFill>
                  <a:schemeClr val="bg1"/>
                </a:solidFill>
                <a:latin typeface="Broadway" panose="04040905080B02020502" pitchFamily="82" charset="0"/>
              </a:rPr>
              <a:t>01</a:t>
            </a:r>
            <a:endParaRPr lang="zh-CN" altLang="en-US" sz="1600" kern="0" dirty="0">
              <a:solidFill>
                <a:schemeClr val="bg1"/>
              </a:solidFill>
              <a:latin typeface="Broadway" panose="04040905080B02020502" pitchFamily="82" charset="0"/>
            </a:endParaRPr>
          </a:p>
        </p:txBody>
      </p:sp>
      <p:sp>
        <p:nvSpPr>
          <p:cNvPr id="293" name="圆角矩形 3"/>
          <p:cNvSpPr/>
          <p:nvPr/>
        </p:nvSpPr>
        <p:spPr>
          <a:xfrm>
            <a:off x="3400038" y="2057982"/>
            <a:ext cx="2994410" cy="412624"/>
          </a:xfrm>
          <a:custGeom>
            <a:avLst/>
            <a:gdLst/>
            <a:ahLst/>
            <a:cxnLst/>
            <a:rect l="l" t="t" r="r" b="b"/>
            <a:pathLst>
              <a:path w="2994410" h="412624">
                <a:moveTo>
                  <a:pt x="0" y="0"/>
                </a:moveTo>
                <a:lnTo>
                  <a:pt x="2925638" y="0"/>
                </a:lnTo>
                <a:cubicBezTo>
                  <a:pt x="2963620" y="0"/>
                  <a:pt x="2994410" y="30790"/>
                  <a:pt x="2994410" y="68772"/>
                </a:cubicBezTo>
                <a:lnTo>
                  <a:pt x="2994410" y="343852"/>
                </a:lnTo>
                <a:cubicBezTo>
                  <a:pt x="2994410" y="381834"/>
                  <a:pt x="2963620" y="412624"/>
                  <a:pt x="2925638" y="412624"/>
                </a:cubicBezTo>
                <a:lnTo>
                  <a:pt x="0" y="412624"/>
                </a:lnTo>
                <a:lnTo>
                  <a:pt x="206312" y="206312"/>
                </a:lnTo>
                <a:close/>
              </a:path>
            </a:pathLst>
          </a:custGeom>
          <a:solidFill>
            <a:schemeClr val="bg1">
              <a:lumMod val="65000"/>
              <a:alpha val="50000"/>
            </a:schemeClr>
          </a:solidFill>
          <a:ln w="12700">
            <a:noFill/>
            <a:round/>
          </a:ln>
          <a:effectLst/>
        </p:spPr>
        <p:txBody>
          <a:bodyPr rtlCol="0" anchor="ctr"/>
          <a:lstStyle/>
          <a:p>
            <a:pPr algn="ctr"/>
            <a:r>
              <a:rPr lang="zh-CN" altLang="en-US" sz="1600" kern="0" dirty="0">
                <a:solidFill>
                  <a:schemeClr val="tx1">
                    <a:lumMod val="75000"/>
                    <a:lumOff val="25000"/>
                  </a:schemeClr>
                </a:solidFill>
                <a:latin typeface="Broadway" panose="04040905080B02020502" pitchFamily="82" charset="0"/>
              </a:rPr>
              <a:t>单击此处添加标题</a:t>
            </a:r>
          </a:p>
        </p:txBody>
      </p:sp>
      <p:sp>
        <p:nvSpPr>
          <p:cNvPr id="294" name="圆角矩形 10"/>
          <p:cNvSpPr/>
          <p:nvPr/>
        </p:nvSpPr>
        <p:spPr>
          <a:xfrm>
            <a:off x="2753620" y="2057982"/>
            <a:ext cx="760508" cy="412624"/>
          </a:xfrm>
          <a:custGeom>
            <a:avLst/>
            <a:gdLst/>
            <a:ahLst/>
            <a:cxnLst/>
            <a:rect l="l" t="t" r="r" b="b"/>
            <a:pathLst>
              <a:path w="760508" h="412624">
                <a:moveTo>
                  <a:pt x="68772" y="0"/>
                </a:moveTo>
                <a:lnTo>
                  <a:pt x="322746" y="0"/>
                </a:lnTo>
                <a:lnTo>
                  <a:pt x="397990" y="0"/>
                </a:lnTo>
                <a:lnTo>
                  <a:pt x="554196" y="0"/>
                </a:lnTo>
                <a:lnTo>
                  <a:pt x="760508" y="206312"/>
                </a:lnTo>
                <a:lnTo>
                  <a:pt x="554196" y="412624"/>
                </a:lnTo>
                <a:lnTo>
                  <a:pt x="397990" y="412624"/>
                </a:lnTo>
                <a:lnTo>
                  <a:pt x="322746" y="412624"/>
                </a:lnTo>
                <a:lnTo>
                  <a:pt x="68772" y="412624"/>
                </a:lnTo>
                <a:cubicBezTo>
                  <a:pt x="30790" y="412624"/>
                  <a:pt x="0" y="381834"/>
                  <a:pt x="0" y="343852"/>
                </a:cubicBezTo>
                <a:lnTo>
                  <a:pt x="0" y="68772"/>
                </a:lnTo>
                <a:cubicBezTo>
                  <a:pt x="0" y="30790"/>
                  <a:pt x="30790" y="0"/>
                  <a:pt x="68772" y="0"/>
                </a:cubicBezTo>
                <a:close/>
              </a:path>
            </a:pathLst>
          </a:custGeom>
          <a:solidFill>
            <a:schemeClr val="accent1"/>
          </a:solidFill>
          <a:ln w="12700">
            <a:noFill/>
            <a:round/>
          </a:ln>
          <a:effectLst/>
        </p:spPr>
        <p:txBody>
          <a:bodyPr rtlCol="0" anchor="ctr"/>
          <a:lstStyle/>
          <a:p>
            <a:pPr algn="ctr"/>
            <a:r>
              <a:rPr lang="en-US" altLang="zh-CN" sz="1600" kern="0" dirty="0">
                <a:solidFill>
                  <a:schemeClr val="bg1"/>
                </a:solidFill>
                <a:latin typeface="Broadway" panose="04040905080B02020502" pitchFamily="82" charset="0"/>
              </a:rPr>
              <a:t>02</a:t>
            </a:r>
            <a:endParaRPr lang="zh-CN" altLang="en-US" sz="1600" kern="0" dirty="0">
              <a:solidFill>
                <a:schemeClr val="bg1"/>
              </a:solidFill>
              <a:latin typeface="Broadway" panose="04040905080B02020502" pitchFamily="82" charset="0"/>
            </a:endParaRPr>
          </a:p>
        </p:txBody>
      </p:sp>
      <p:sp>
        <p:nvSpPr>
          <p:cNvPr id="295" name="圆角矩形 3"/>
          <p:cNvSpPr/>
          <p:nvPr/>
        </p:nvSpPr>
        <p:spPr>
          <a:xfrm>
            <a:off x="3400038" y="2778062"/>
            <a:ext cx="2994410" cy="412624"/>
          </a:xfrm>
          <a:custGeom>
            <a:avLst/>
            <a:gdLst/>
            <a:ahLst/>
            <a:cxnLst/>
            <a:rect l="l" t="t" r="r" b="b"/>
            <a:pathLst>
              <a:path w="2994410" h="412624">
                <a:moveTo>
                  <a:pt x="0" y="0"/>
                </a:moveTo>
                <a:lnTo>
                  <a:pt x="2925638" y="0"/>
                </a:lnTo>
                <a:cubicBezTo>
                  <a:pt x="2963620" y="0"/>
                  <a:pt x="2994410" y="30790"/>
                  <a:pt x="2994410" y="68772"/>
                </a:cubicBezTo>
                <a:lnTo>
                  <a:pt x="2994410" y="343852"/>
                </a:lnTo>
                <a:cubicBezTo>
                  <a:pt x="2994410" y="381834"/>
                  <a:pt x="2963620" y="412624"/>
                  <a:pt x="2925638" y="412624"/>
                </a:cubicBezTo>
                <a:lnTo>
                  <a:pt x="0" y="412624"/>
                </a:lnTo>
                <a:lnTo>
                  <a:pt x="206312" y="206312"/>
                </a:lnTo>
                <a:close/>
              </a:path>
            </a:pathLst>
          </a:custGeom>
          <a:solidFill>
            <a:schemeClr val="bg1">
              <a:lumMod val="65000"/>
              <a:alpha val="50000"/>
            </a:schemeClr>
          </a:solidFill>
          <a:ln w="12700">
            <a:noFill/>
            <a:round/>
          </a:ln>
          <a:effectLst/>
        </p:spPr>
        <p:txBody>
          <a:bodyPr rtlCol="0" anchor="ctr"/>
          <a:lstStyle/>
          <a:p>
            <a:pPr algn="ctr"/>
            <a:r>
              <a:rPr lang="zh-CN" altLang="en-US" sz="1600" kern="0" dirty="0">
                <a:solidFill>
                  <a:schemeClr val="tx1">
                    <a:lumMod val="75000"/>
                    <a:lumOff val="25000"/>
                  </a:schemeClr>
                </a:solidFill>
                <a:latin typeface="Broadway" panose="04040905080B02020502" pitchFamily="82" charset="0"/>
              </a:rPr>
              <a:t>单击此处添加标题</a:t>
            </a:r>
          </a:p>
        </p:txBody>
      </p:sp>
      <p:sp>
        <p:nvSpPr>
          <p:cNvPr id="296" name="圆角矩形 10"/>
          <p:cNvSpPr/>
          <p:nvPr/>
        </p:nvSpPr>
        <p:spPr>
          <a:xfrm>
            <a:off x="2753620" y="2778062"/>
            <a:ext cx="760508" cy="412624"/>
          </a:xfrm>
          <a:custGeom>
            <a:avLst/>
            <a:gdLst/>
            <a:ahLst/>
            <a:cxnLst/>
            <a:rect l="l" t="t" r="r" b="b"/>
            <a:pathLst>
              <a:path w="760508" h="412624">
                <a:moveTo>
                  <a:pt x="68772" y="0"/>
                </a:moveTo>
                <a:lnTo>
                  <a:pt x="322746" y="0"/>
                </a:lnTo>
                <a:lnTo>
                  <a:pt x="397990" y="0"/>
                </a:lnTo>
                <a:lnTo>
                  <a:pt x="554196" y="0"/>
                </a:lnTo>
                <a:lnTo>
                  <a:pt x="760508" y="206312"/>
                </a:lnTo>
                <a:lnTo>
                  <a:pt x="554196" y="412624"/>
                </a:lnTo>
                <a:lnTo>
                  <a:pt x="397990" y="412624"/>
                </a:lnTo>
                <a:lnTo>
                  <a:pt x="322746" y="412624"/>
                </a:lnTo>
                <a:lnTo>
                  <a:pt x="68772" y="412624"/>
                </a:lnTo>
                <a:cubicBezTo>
                  <a:pt x="30790" y="412624"/>
                  <a:pt x="0" y="381834"/>
                  <a:pt x="0" y="343852"/>
                </a:cubicBezTo>
                <a:lnTo>
                  <a:pt x="0" y="68772"/>
                </a:lnTo>
                <a:cubicBezTo>
                  <a:pt x="0" y="30790"/>
                  <a:pt x="30790" y="0"/>
                  <a:pt x="68772" y="0"/>
                </a:cubicBezTo>
                <a:close/>
              </a:path>
            </a:pathLst>
          </a:custGeom>
          <a:solidFill>
            <a:schemeClr val="accent1"/>
          </a:solidFill>
          <a:ln w="12700">
            <a:noFill/>
            <a:round/>
          </a:ln>
          <a:effectLst/>
        </p:spPr>
        <p:txBody>
          <a:bodyPr rtlCol="0" anchor="ctr"/>
          <a:lstStyle/>
          <a:p>
            <a:pPr algn="ctr"/>
            <a:r>
              <a:rPr lang="en-US" altLang="zh-CN" sz="1600" kern="0" dirty="0">
                <a:solidFill>
                  <a:schemeClr val="bg1"/>
                </a:solidFill>
                <a:latin typeface="Broadway" panose="04040905080B02020502" pitchFamily="82" charset="0"/>
              </a:rPr>
              <a:t>03</a:t>
            </a:r>
            <a:endParaRPr lang="zh-CN" altLang="en-US" sz="1600" kern="0" dirty="0">
              <a:solidFill>
                <a:schemeClr val="bg1"/>
              </a:solidFill>
              <a:latin typeface="Broadway" panose="04040905080B02020502" pitchFamily="82" charset="0"/>
            </a:endParaRPr>
          </a:p>
        </p:txBody>
      </p:sp>
      <p:sp>
        <p:nvSpPr>
          <p:cNvPr id="297" name="圆角矩形 3"/>
          <p:cNvSpPr/>
          <p:nvPr/>
        </p:nvSpPr>
        <p:spPr>
          <a:xfrm>
            <a:off x="3400038" y="3498142"/>
            <a:ext cx="2994410" cy="412624"/>
          </a:xfrm>
          <a:custGeom>
            <a:avLst/>
            <a:gdLst/>
            <a:ahLst/>
            <a:cxnLst/>
            <a:rect l="l" t="t" r="r" b="b"/>
            <a:pathLst>
              <a:path w="2994410" h="412624">
                <a:moveTo>
                  <a:pt x="0" y="0"/>
                </a:moveTo>
                <a:lnTo>
                  <a:pt x="2925638" y="0"/>
                </a:lnTo>
                <a:cubicBezTo>
                  <a:pt x="2963620" y="0"/>
                  <a:pt x="2994410" y="30790"/>
                  <a:pt x="2994410" y="68772"/>
                </a:cubicBezTo>
                <a:lnTo>
                  <a:pt x="2994410" y="343852"/>
                </a:lnTo>
                <a:cubicBezTo>
                  <a:pt x="2994410" y="381834"/>
                  <a:pt x="2963620" y="412624"/>
                  <a:pt x="2925638" y="412624"/>
                </a:cubicBezTo>
                <a:lnTo>
                  <a:pt x="0" y="412624"/>
                </a:lnTo>
                <a:lnTo>
                  <a:pt x="206312" y="206312"/>
                </a:lnTo>
                <a:close/>
              </a:path>
            </a:pathLst>
          </a:custGeom>
          <a:solidFill>
            <a:schemeClr val="bg1">
              <a:lumMod val="65000"/>
              <a:alpha val="50000"/>
            </a:schemeClr>
          </a:solidFill>
          <a:ln w="12700">
            <a:noFill/>
            <a:round/>
          </a:ln>
          <a:effectLst/>
        </p:spPr>
        <p:txBody>
          <a:bodyPr rtlCol="0" anchor="ctr"/>
          <a:lstStyle/>
          <a:p>
            <a:pPr algn="ctr"/>
            <a:r>
              <a:rPr lang="zh-CN" altLang="en-US" sz="1600" kern="0" dirty="0">
                <a:solidFill>
                  <a:schemeClr val="tx1">
                    <a:lumMod val="75000"/>
                    <a:lumOff val="25000"/>
                  </a:schemeClr>
                </a:solidFill>
                <a:latin typeface="Broadway" panose="04040905080B02020502" pitchFamily="82" charset="0"/>
              </a:rPr>
              <a:t>单击此处添加标题</a:t>
            </a:r>
          </a:p>
        </p:txBody>
      </p:sp>
      <p:sp>
        <p:nvSpPr>
          <p:cNvPr id="298" name="圆角矩形 10"/>
          <p:cNvSpPr/>
          <p:nvPr/>
        </p:nvSpPr>
        <p:spPr>
          <a:xfrm>
            <a:off x="2753620" y="3498142"/>
            <a:ext cx="760508" cy="412624"/>
          </a:xfrm>
          <a:custGeom>
            <a:avLst/>
            <a:gdLst/>
            <a:ahLst/>
            <a:cxnLst/>
            <a:rect l="l" t="t" r="r" b="b"/>
            <a:pathLst>
              <a:path w="760508" h="412624">
                <a:moveTo>
                  <a:pt x="68772" y="0"/>
                </a:moveTo>
                <a:lnTo>
                  <a:pt x="322746" y="0"/>
                </a:lnTo>
                <a:lnTo>
                  <a:pt x="397990" y="0"/>
                </a:lnTo>
                <a:lnTo>
                  <a:pt x="554196" y="0"/>
                </a:lnTo>
                <a:lnTo>
                  <a:pt x="760508" y="206312"/>
                </a:lnTo>
                <a:lnTo>
                  <a:pt x="554196" y="412624"/>
                </a:lnTo>
                <a:lnTo>
                  <a:pt x="397990" y="412624"/>
                </a:lnTo>
                <a:lnTo>
                  <a:pt x="322746" y="412624"/>
                </a:lnTo>
                <a:lnTo>
                  <a:pt x="68772" y="412624"/>
                </a:lnTo>
                <a:cubicBezTo>
                  <a:pt x="30790" y="412624"/>
                  <a:pt x="0" y="381834"/>
                  <a:pt x="0" y="343852"/>
                </a:cubicBezTo>
                <a:lnTo>
                  <a:pt x="0" y="68772"/>
                </a:lnTo>
                <a:cubicBezTo>
                  <a:pt x="0" y="30790"/>
                  <a:pt x="30790" y="0"/>
                  <a:pt x="68772" y="0"/>
                </a:cubicBezTo>
                <a:close/>
              </a:path>
            </a:pathLst>
          </a:custGeom>
          <a:solidFill>
            <a:schemeClr val="accent1"/>
          </a:solidFill>
          <a:ln w="12700">
            <a:noFill/>
            <a:round/>
          </a:ln>
          <a:effectLst/>
        </p:spPr>
        <p:txBody>
          <a:bodyPr rtlCol="0" anchor="ctr"/>
          <a:lstStyle/>
          <a:p>
            <a:pPr algn="ctr"/>
            <a:r>
              <a:rPr lang="en-US" altLang="zh-CN" sz="1600" kern="0" dirty="0">
                <a:solidFill>
                  <a:schemeClr val="bg1"/>
                </a:solidFill>
                <a:latin typeface="Broadway" panose="04040905080B02020502" pitchFamily="82" charset="0"/>
              </a:rPr>
              <a:t>04</a:t>
            </a:r>
            <a:endParaRPr lang="zh-CN" altLang="en-US" sz="1600" kern="0" dirty="0">
              <a:solidFill>
                <a:schemeClr val="bg1"/>
              </a:solidFill>
              <a:latin typeface="Broadway" panose="04040905080B02020502" pitchFamily="82" charset="0"/>
            </a:endParaRPr>
          </a:p>
        </p:txBody>
      </p:sp>
    </p:spTree>
  </p:cSld>
  <p:clrMapOvr>
    <a:masterClrMapping/>
  </p:clrMapOvr>
  <mc:AlternateContent xmlns:mc="http://schemas.openxmlformats.org/markup-compatibility/2006" xmlns:p14="http://schemas.microsoft.com/office/powerpoint/2010/main">
    <mc:Choice Requires="p14">
      <p:transition spd="med" p14:dur="700" advTm="3323">
        <p:fade/>
      </p:transition>
    </mc:Choice>
    <mc:Fallback xmlns="">
      <p:transition spd="med" advTm="3323">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14:presetBounceEnd="52000">
                                      <p:stCondLst>
                                        <p:cond delay="0"/>
                                      </p:stCondLst>
                                      <p:childTnLst>
                                        <p:set>
                                          <p:cBhvr>
                                            <p:cTn id="6" dur="1" fill="hold">
                                              <p:stCondLst>
                                                <p:cond delay="0"/>
                                              </p:stCondLst>
                                            </p:cTn>
                                            <p:tgtEl>
                                              <p:spTgt spid="292"/>
                                            </p:tgtEl>
                                            <p:attrNameLst>
                                              <p:attrName>style.visibility</p:attrName>
                                            </p:attrNameLst>
                                          </p:cBhvr>
                                          <p:to>
                                            <p:strVal val="visible"/>
                                          </p:to>
                                        </p:set>
                                        <p:anim calcmode="lin" valueType="num" p14:bounceEnd="52000">
                                          <p:cBhvr additive="base">
                                            <p:cTn id="7" dur="500" fill="hold"/>
                                            <p:tgtEl>
                                              <p:spTgt spid="292"/>
                                            </p:tgtEl>
                                            <p:attrNameLst>
                                              <p:attrName>ppt_x</p:attrName>
                                            </p:attrNameLst>
                                          </p:cBhvr>
                                          <p:tavLst>
                                            <p:tav tm="0">
                                              <p:val>
                                                <p:strVal val="0-#ppt_w/2"/>
                                              </p:val>
                                            </p:tav>
                                            <p:tav tm="100000">
                                              <p:val>
                                                <p:strVal val="#ppt_x"/>
                                              </p:val>
                                            </p:tav>
                                          </p:tavLst>
                                        </p:anim>
                                        <p:anim calcmode="lin" valueType="num" p14:bounceEnd="52000">
                                          <p:cBhvr additive="base">
                                            <p:cTn id="8" dur="500" fill="hold"/>
                                            <p:tgtEl>
                                              <p:spTgt spid="29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14:presetBounceEnd="52000">
                                      <p:stCondLst>
                                        <p:cond delay="400"/>
                                      </p:stCondLst>
                                      <p:childTnLst>
                                        <p:set>
                                          <p:cBhvr>
                                            <p:cTn id="10" dur="1" fill="hold">
                                              <p:stCondLst>
                                                <p:cond delay="0"/>
                                              </p:stCondLst>
                                            </p:cTn>
                                            <p:tgtEl>
                                              <p:spTgt spid="294"/>
                                            </p:tgtEl>
                                            <p:attrNameLst>
                                              <p:attrName>style.visibility</p:attrName>
                                            </p:attrNameLst>
                                          </p:cBhvr>
                                          <p:to>
                                            <p:strVal val="visible"/>
                                          </p:to>
                                        </p:set>
                                        <p:anim calcmode="lin" valueType="num" p14:bounceEnd="52000">
                                          <p:cBhvr additive="base">
                                            <p:cTn id="11" dur="500" fill="hold"/>
                                            <p:tgtEl>
                                              <p:spTgt spid="294"/>
                                            </p:tgtEl>
                                            <p:attrNameLst>
                                              <p:attrName>ppt_x</p:attrName>
                                            </p:attrNameLst>
                                          </p:cBhvr>
                                          <p:tavLst>
                                            <p:tav tm="0">
                                              <p:val>
                                                <p:strVal val="0-#ppt_w/2"/>
                                              </p:val>
                                            </p:tav>
                                            <p:tav tm="100000">
                                              <p:val>
                                                <p:strVal val="#ppt_x"/>
                                              </p:val>
                                            </p:tav>
                                          </p:tavLst>
                                        </p:anim>
                                        <p:anim calcmode="lin" valueType="num" p14:bounceEnd="52000">
                                          <p:cBhvr additive="base">
                                            <p:cTn id="12" dur="500" fill="hold"/>
                                            <p:tgtEl>
                                              <p:spTgt spid="294"/>
                                            </p:tgtEl>
                                            <p:attrNameLst>
                                              <p:attrName>ppt_y</p:attrName>
                                            </p:attrNameLst>
                                          </p:cBhvr>
                                          <p:tavLst>
                                            <p:tav tm="0">
                                              <p:val>
                                                <p:strVal val="#ppt_y"/>
                                              </p:val>
                                            </p:tav>
                                            <p:tav tm="100000">
                                              <p:val>
                                                <p:strVal val="#ppt_y"/>
                                              </p:val>
                                            </p:tav>
                                          </p:tavLst>
                                        </p:anim>
                                      </p:childTnLst>
                                    </p:cTn>
                                  </p:par>
                                  <p:par>
                                    <p:cTn id="13" presetID="22" presetClass="entr" presetSubtype="8" fill="hold" grpId="0" nodeType="withEffect">
                                      <p:stCondLst>
                                        <p:cond delay="400"/>
                                      </p:stCondLst>
                                      <p:childTnLst>
                                        <p:set>
                                          <p:cBhvr>
                                            <p:cTn id="14" dur="1" fill="hold">
                                              <p:stCondLst>
                                                <p:cond delay="0"/>
                                              </p:stCondLst>
                                            </p:cTn>
                                            <p:tgtEl>
                                              <p:spTgt spid="291"/>
                                            </p:tgtEl>
                                            <p:attrNameLst>
                                              <p:attrName>style.visibility</p:attrName>
                                            </p:attrNameLst>
                                          </p:cBhvr>
                                          <p:to>
                                            <p:strVal val="visible"/>
                                          </p:to>
                                        </p:set>
                                        <p:animEffect transition="in" filter="wipe(left)">
                                          <p:cBhvr>
                                            <p:cTn id="15" dur="500"/>
                                            <p:tgtEl>
                                              <p:spTgt spid="291"/>
                                            </p:tgtEl>
                                          </p:cBhvr>
                                        </p:animEffect>
                                      </p:childTnLst>
                                    </p:cTn>
                                  </p:par>
                                  <p:par>
                                    <p:cTn id="16" presetID="2" presetClass="entr" presetSubtype="8" fill="hold" grpId="0" nodeType="withEffect" p14:presetBounceEnd="52000">
                                      <p:stCondLst>
                                        <p:cond delay="800"/>
                                      </p:stCondLst>
                                      <p:childTnLst>
                                        <p:set>
                                          <p:cBhvr>
                                            <p:cTn id="17" dur="1" fill="hold">
                                              <p:stCondLst>
                                                <p:cond delay="0"/>
                                              </p:stCondLst>
                                            </p:cTn>
                                            <p:tgtEl>
                                              <p:spTgt spid="296"/>
                                            </p:tgtEl>
                                            <p:attrNameLst>
                                              <p:attrName>style.visibility</p:attrName>
                                            </p:attrNameLst>
                                          </p:cBhvr>
                                          <p:to>
                                            <p:strVal val="visible"/>
                                          </p:to>
                                        </p:set>
                                        <p:anim calcmode="lin" valueType="num" p14:bounceEnd="52000">
                                          <p:cBhvr additive="base">
                                            <p:cTn id="18" dur="500" fill="hold"/>
                                            <p:tgtEl>
                                              <p:spTgt spid="296"/>
                                            </p:tgtEl>
                                            <p:attrNameLst>
                                              <p:attrName>ppt_x</p:attrName>
                                            </p:attrNameLst>
                                          </p:cBhvr>
                                          <p:tavLst>
                                            <p:tav tm="0">
                                              <p:val>
                                                <p:strVal val="0-#ppt_w/2"/>
                                              </p:val>
                                            </p:tav>
                                            <p:tav tm="100000">
                                              <p:val>
                                                <p:strVal val="#ppt_x"/>
                                              </p:val>
                                            </p:tav>
                                          </p:tavLst>
                                        </p:anim>
                                        <p:anim calcmode="lin" valueType="num" p14:bounceEnd="52000">
                                          <p:cBhvr additive="base">
                                            <p:cTn id="19" dur="500" fill="hold"/>
                                            <p:tgtEl>
                                              <p:spTgt spid="296"/>
                                            </p:tgtEl>
                                            <p:attrNameLst>
                                              <p:attrName>ppt_y</p:attrName>
                                            </p:attrNameLst>
                                          </p:cBhvr>
                                          <p:tavLst>
                                            <p:tav tm="0">
                                              <p:val>
                                                <p:strVal val="#ppt_y"/>
                                              </p:val>
                                            </p:tav>
                                            <p:tav tm="100000">
                                              <p:val>
                                                <p:strVal val="#ppt_y"/>
                                              </p:val>
                                            </p:tav>
                                          </p:tavLst>
                                        </p:anim>
                                      </p:childTnLst>
                                    </p:cTn>
                                  </p:par>
                                  <p:par>
                                    <p:cTn id="20" presetID="22" presetClass="entr" presetSubtype="8" fill="hold" grpId="0" nodeType="withEffect">
                                      <p:stCondLst>
                                        <p:cond delay="800"/>
                                      </p:stCondLst>
                                      <p:childTnLst>
                                        <p:set>
                                          <p:cBhvr>
                                            <p:cTn id="21" dur="1" fill="hold">
                                              <p:stCondLst>
                                                <p:cond delay="0"/>
                                              </p:stCondLst>
                                            </p:cTn>
                                            <p:tgtEl>
                                              <p:spTgt spid="293"/>
                                            </p:tgtEl>
                                            <p:attrNameLst>
                                              <p:attrName>style.visibility</p:attrName>
                                            </p:attrNameLst>
                                          </p:cBhvr>
                                          <p:to>
                                            <p:strVal val="visible"/>
                                          </p:to>
                                        </p:set>
                                        <p:animEffect transition="in" filter="wipe(left)">
                                          <p:cBhvr>
                                            <p:cTn id="22" dur="500"/>
                                            <p:tgtEl>
                                              <p:spTgt spid="293"/>
                                            </p:tgtEl>
                                          </p:cBhvr>
                                        </p:animEffect>
                                      </p:childTnLst>
                                    </p:cTn>
                                  </p:par>
                                  <p:par>
                                    <p:cTn id="23" presetID="2" presetClass="entr" presetSubtype="8" fill="hold" grpId="0" nodeType="withEffect" p14:presetBounceEnd="52000">
                                      <p:stCondLst>
                                        <p:cond delay="1200"/>
                                      </p:stCondLst>
                                      <p:childTnLst>
                                        <p:set>
                                          <p:cBhvr>
                                            <p:cTn id="24" dur="1" fill="hold">
                                              <p:stCondLst>
                                                <p:cond delay="0"/>
                                              </p:stCondLst>
                                            </p:cTn>
                                            <p:tgtEl>
                                              <p:spTgt spid="298"/>
                                            </p:tgtEl>
                                            <p:attrNameLst>
                                              <p:attrName>style.visibility</p:attrName>
                                            </p:attrNameLst>
                                          </p:cBhvr>
                                          <p:to>
                                            <p:strVal val="visible"/>
                                          </p:to>
                                        </p:set>
                                        <p:anim calcmode="lin" valueType="num" p14:bounceEnd="52000">
                                          <p:cBhvr additive="base">
                                            <p:cTn id="25" dur="500" fill="hold"/>
                                            <p:tgtEl>
                                              <p:spTgt spid="298"/>
                                            </p:tgtEl>
                                            <p:attrNameLst>
                                              <p:attrName>ppt_x</p:attrName>
                                            </p:attrNameLst>
                                          </p:cBhvr>
                                          <p:tavLst>
                                            <p:tav tm="0">
                                              <p:val>
                                                <p:strVal val="0-#ppt_w/2"/>
                                              </p:val>
                                            </p:tav>
                                            <p:tav tm="100000">
                                              <p:val>
                                                <p:strVal val="#ppt_x"/>
                                              </p:val>
                                            </p:tav>
                                          </p:tavLst>
                                        </p:anim>
                                        <p:anim calcmode="lin" valueType="num" p14:bounceEnd="52000">
                                          <p:cBhvr additive="base">
                                            <p:cTn id="26" dur="500" fill="hold"/>
                                            <p:tgtEl>
                                              <p:spTgt spid="298"/>
                                            </p:tgtEl>
                                            <p:attrNameLst>
                                              <p:attrName>ppt_y</p:attrName>
                                            </p:attrNameLst>
                                          </p:cBhvr>
                                          <p:tavLst>
                                            <p:tav tm="0">
                                              <p:val>
                                                <p:strVal val="#ppt_y"/>
                                              </p:val>
                                            </p:tav>
                                            <p:tav tm="100000">
                                              <p:val>
                                                <p:strVal val="#ppt_y"/>
                                              </p:val>
                                            </p:tav>
                                          </p:tavLst>
                                        </p:anim>
                                      </p:childTnLst>
                                    </p:cTn>
                                  </p:par>
                                  <p:par>
                                    <p:cTn id="27" presetID="22" presetClass="entr" presetSubtype="8" fill="hold" grpId="0" nodeType="withEffect">
                                      <p:stCondLst>
                                        <p:cond delay="1200"/>
                                      </p:stCondLst>
                                      <p:childTnLst>
                                        <p:set>
                                          <p:cBhvr>
                                            <p:cTn id="28" dur="1" fill="hold">
                                              <p:stCondLst>
                                                <p:cond delay="0"/>
                                              </p:stCondLst>
                                            </p:cTn>
                                            <p:tgtEl>
                                              <p:spTgt spid="295"/>
                                            </p:tgtEl>
                                            <p:attrNameLst>
                                              <p:attrName>style.visibility</p:attrName>
                                            </p:attrNameLst>
                                          </p:cBhvr>
                                          <p:to>
                                            <p:strVal val="visible"/>
                                          </p:to>
                                        </p:set>
                                        <p:animEffect transition="in" filter="wipe(left)">
                                          <p:cBhvr>
                                            <p:cTn id="29" dur="500"/>
                                            <p:tgtEl>
                                              <p:spTgt spid="295"/>
                                            </p:tgtEl>
                                          </p:cBhvr>
                                        </p:animEffect>
                                      </p:childTnLst>
                                    </p:cTn>
                                  </p:par>
                                  <p:par>
                                    <p:cTn id="30" presetID="22" presetClass="entr" presetSubtype="8" fill="hold" grpId="0" nodeType="withEffect">
                                      <p:stCondLst>
                                        <p:cond delay="1700"/>
                                      </p:stCondLst>
                                      <p:childTnLst>
                                        <p:set>
                                          <p:cBhvr>
                                            <p:cTn id="31" dur="1" fill="hold">
                                              <p:stCondLst>
                                                <p:cond delay="0"/>
                                              </p:stCondLst>
                                            </p:cTn>
                                            <p:tgtEl>
                                              <p:spTgt spid="297"/>
                                            </p:tgtEl>
                                            <p:attrNameLst>
                                              <p:attrName>style.visibility</p:attrName>
                                            </p:attrNameLst>
                                          </p:cBhvr>
                                          <p:to>
                                            <p:strVal val="visible"/>
                                          </p:to>
                                        </p:set>
                                        <p:animEffect transition="in" filter="wipe(left)">
                                          <p:cBhvr>
                                            <p:cTn id="32" dur="500"/>
                                            <p:tgtEl>
                                              <p:spTgt spid="2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 grpId="0" animBg="1"/>
          <p:bldP spid="292" grpId="0" animBg="1"/>
          <p:bldP spid="293" grpId="0" animBg="1"/>
          <p:bldP spid="294" grpId="0" animBg="1"/>
          <p:bldP spid="295" grpId="0" animBg="1"/>
          <p:bldP spid="296" grpId="0" animBg="1"/>
          <p:bldP spid="297" grpId="0" animBg="1"/>
          <p:bldP spid="298"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92"/>
                                            </p:tgtEl>
                                            <p:attrNameLst>
                                              <p:attrName>style.visibility</p:attrName>
                                            </p:attrNameLst>
                                          </p:cBhvr>
                                          <p:to>
                                            <p:strVal val="visible"/>
                                          </p:to>
                                        </p:set>
                                        <p:anim calcmode="lin" valueType="num">
                                          <p:cBhvr additive="base">
                                            <p:cTn id="7" dur="500" fill="hold"/>
                                            <p:tgtEl>
                                              <p:spTgt spid="292"/>
                                            </p:tgtEl>
                                            <p:attrNameLst>
                                              <p:attrName>ppt_x</p:attrName>
                                            </p:attrNameLst>
                                          </p:cBhvr>
                                          <p:tavLst>
                                            <p:tav tm="0">
                                              <p:val>
                                                <p:strVal val="0-#ppt_w/2"/>
                                              </p:val>
                                            </p:tav>
                                            <p:tav tm="100000">
                                              <p:val>
                                                <p:strVal val="#ppt_x"/>
                                              </p:val>
                                            </p:tav>
                                          </p:tavLst>
                                        </p:anim>
                                        <p:anim calcmode="lin" valueType="num">
                                          <p:cBhvr additive="base">
                                            <p:cTn id="8" dur="500" fill="hold"/>
                                            <p:tgtEl>
                                              <p:spTgt spid="29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400"/>
                                      </p:stCondLst>
                                      <p:childTnLst>
                                        <p:set>
                                          <p:cBhvr>
                                            <p:cTn id="10" dur="1" fill="hold">
                                              <p:stCondLst>
                                                <p:cond delay="0"/>
                                              </p:stCondLst>
                                            </p:cTn>
                                            <p:tgtEl>
                                              <p:spTgt spid="294"/>
                                            </p:tgtEl>
                                            <p:attrNameLst>
                                              <p:attrName>style.visibility</p:attrName>
                                            </p:attrNameLst>
                                          </p:cBhvr>
                                          <p:to>
                                            <p:strVal val="visible"/>
                                          </p:to>
                                        </p:set>
                                        <p:anim calcmode="lin" valueType="num">
                                          <p:cBhvr additive="base">
                                            <p:cTn id="11" dur="500" fill="hold"/>
                                            <p:tgtEl>
                                              <p:spTgt spid="294"/>
                                            </p:tgtEl>
                                            <p:attrNameLst>
                                              <p:attrName>ppt_x</p:attrName>
                                            </p:attrNameLst>
                                          </p:cBhvr>
                                          <p:tavLst>
                                            <p:tav tm="0">
                                              <p:val>
                                                <p:strVal val="0-#ppt_w/2"/>
                                              </p:val>
                                            </p:tav>
                                            <p:tav tm="100000">
                                              <p:val>
                                                <p:strVal val="#ppt_x"/>
                                              </p:val>
                                            </p:tav>
                                          </p:tavLst>
                                        </p:anim>
                                        <p:anim calcmode="lin" valueType="num">
                                          <p:cBhvr additive="base">
                                            <p:cTn id="12" dur="500" fill="hold"/>
                                            <p:tgtEl>
                                              <p:spTgt spid="294"/>
                                            </p:tgtEl>
                                            <p:attrNameLst>
                                              <p:attrName>ppt_y</p:attrName>
                                            </p:attrNameLst>
                                          </p:cBhvr>
                                          <p:tavLst>
                                            <p:tav tm="0">
                                              <p:val>
                                                <p:strVal val="#ppt_y"/>
                                              </p:val>
                                            </p:tav>
                                            <p:tav tm="100000">
                                              <p:val>
                                                <p:strVal val="#ppt_y"/>
                                              </p:val>
                                            </p:tav>
                                          </p:tavLst>
                                        </p:anim>
                                      </p:childTnLst>
                                    </p:cTn>
                                  </p:par>
                                  <p:par>
                                    <p:cTn id="13" presetID="22" presetClass="entr" presetSubtype="8" fill="hold" grpId="0" nodeType="withEffect">
                                      <p:stCondLst>
                                        <p:cond delay="400"/>
                                      </p:stCondLst>
                                      <p:childTnLst>
                                        <p:set>
                                          <p:cBhvr>
                                            <p:cTn id="14" dur="1" fill="hold">
                                              <p:stCondLst>
                                                <p:cond delay="0"/>
                                              </p:stCondLst>
                                            </p:cTn>
                                            <p:tgtEl>
                                              <p:spTgt spid="291"/>
                                            </p:tgtEl>
                                            <p:attrNameLst>
                                              <p:attrName>style.visibility</p:attrName>
                                            </p:attrNameLst>
                                          </p:cBhvr>
                                          <p:to>
                                            <p:strVal val="visible"/>
                                          </p:to>
                                        </p:set>
                                        <p:animEffect transition="in" filter="wipe(left)">
                                          <p:cBhvr>
                                            <p:cTn id="15" dur="500"/>
                                            <p:tgtEl>
                                              <p:spTgt spid="291"/>
                                            </p:tgtEl>
                                          </p:cBhvr>
                                        </p:animEffect>
                                      </p:childTnLst>
                                    </p:cTn>
                                  </p:par>
                                  <p:par>
                                    <p:cTn id="16" presetID="2" presetClass="entr" presetSubtype="8" fill="hold" grpId="0" nodeType="withEffect">
                                      <p:stCondLst>
                                        <p:cond delay="800"/>
                                      </p:stCondLst>
                                      <p:childTnLst>
                                        <p:set>
                                          <p:cBhvr>
                                            <p:cTn id="17" dur="1" fill="hold">
                                              <p:stCondLst>
                                                <p:cond delay="0"/>
                                              </p:stCondLst>
                                            </p:cTn>
                                            <p:tgtEl>
                                              <p:spTgt spid="296"/>
                                            </p:tgtEl>
                                            <p:attrNameLst>
                                              <p:attrName>style.visibility</p:attrName>
                                            </p:attrNameLst>
                                          </p:cBhvr>
                                          <p:to>
                                            <p:strVal val="visible"/>
                                          </p:to>
                                        </p:set>
                                        <p:anim calcmode="lin" valueType="num">
                                          <p:cBhvr additive="base">
                                            <p:cTn id="18" dur="500" fill="hold"/>
                                            <p:tgtEl>
                                              <p:spTgt spid="296"/>
                                            </p:tgtEl>
                                            <p:attrNameLst>
                                              <p:attrName>ppt_x</p:attrName>
                                            </p:attrNameLst>
                                          </p:cBhvr>
                                          <p:tavLst>
                                            <p:tav tm="0">
                                              <p:val>
                                                <p:strVal val="0-#ppt_w/2"/>
                                              </p:val>
                                            </p:tav>
                                            <p:tav tm="100000">
                                              <p:val>
                                                <p:strVal val="#ppt_x"/>
                                              </p:val>
                                            </p:tav>
                                          </p:tavLst>
                                        </p:anim>
                                        <p:anim calcmode="lin" valueType="num">
                                          <p:cBhvr additive="base">
                                            <p:cTn id="19" dur="500" fill="hold"/>
                                            <p:tgtEl>
                                              <p:spTgt spid="296"/>
                                            </p:tgtEl>
                                            <p:attrNameLst>
                                              <p:attrName>ppt_y</p:attrName>
                                            </p:attrNameLst>
                                          </p:cBhvr>
                                          <p:tavLst>
                                            <p:tav tm="0">
                                              <p:val>
                                                <p:strVal val="#ppt_y"/>
                                              </p:val>
                                            </p:tav>
                                            <p:tav tm="100000">
                                              <p:val>
                                                <p:strVal val="#ppt_y"/>
                                              </p:val>
                                            </p:tav>
                                          </p:tavLst>
                                        </p:anim>
                                      </p:childTnLst>
                                    </p:cTn>
                                  </p:par>
                                  <p:par>
                                    <p:cTn id="20" presetID="22" presetClass="entr" presetSubtype="8" fill="hold" grpId="0" nodeType="withEffect">
                                      <p:stCondLst>
                                        <p:cond delay="800"/>
                                      </p:stCondLst>
                                      <p:childTnLst>
                                        <p:set>
                                          <p:cBhvr>
                                            <p:cTn id="21" dur="1" fill="hold">
                                              <p:stCondLst>
                                                <p:cond delay="0"/>
                                              </p:stCondLst>
                                            </p:cTn>
                                            <p:tgtEl>
                                              <p:spTgt spid="293"/>
                                            </p:tgtEl>
                                            <p:attrNameLst>
                                              <p:attrName>style.visibility</p:attrName>
                                            </p:attrNameLst>
                                          </p:cBhvr>
                                          <p:to>
                                            <p:strVal val="visible"/>
                                          </p:to>
                                        </p:set>
                                        <p:animEffect transition="in" filter="wipe(left)">
                                          <p:cBhvr>
                                            <p:cTn id="22" dur="500"/>
                                            <p:tgtEl>
                                              <p:spTgt spid="293"/>
                                            </p:tgtEl>
                                          </p:cBhvr>
                                        </p:animEffect>
                                      </p:childTnLst>
                                    </p:cTn>
                                  </p:par>
                                  <p:par>
                                    <p:cTn id="23" presetID="2" presetClass="entr" presetSubtype="8" fill="hold" grpId="0" nodeType="withEffect">
                                      <p:stCondLst>
                                        <p:cond delay="1200"/>
                                      </p:stCondLst>
                                      <p:childTnLst>
                                        <p:set>
                                          <p:cBhvr>
                                            <p:cTn id="24" dur="1" fill="hold">
                                              <p:stCondLst>
                                                <p:cond delay="0"/>
                                              </p:stCondLst>
                                            </p:cTn>
                                            <p:tgtEl>
                                              <p:spTgt spid="298"/>
                                            </p:tgtEl>
                                            <p:attrNameLst>
                                              <p:attrName>style.visibility</p:attrName>
                                            </p:attrNameLst>
                                          </p:cBhvr>
                                          <p:to>
                                            <p:strVal val="visible"/>
                                          </p:to>
                                        </p:set>
                                        <p:anim calcmode="lin" valueType="num">
                                          <p:cBhvr additive="base">
                                            <p:cTn id="25" dur="500" fill="hold"/>
                                            <p:tgtEl>
                                              <p:spTgt spid="298"/>
                                            </p:tgtEl>
                                            <p:attrNameLst>
                                              <p:attrName>ppt_x</p:attrName>
                                            </p:attrNameLst>
                                          </p:cBhvr>
                                          <p:tavLst>
                                            <p:tav tm="0">
                                              <p:val>
                                                <p:strVal val="0-#ppt_w/2"/>
                                              </p:val>
                                            </p:tav>
                                            <p:tav tm="100000">
                                              <p:val>
                                                <p:strVal val="#ppt_x"/>
                                              </p:val>
                                            </p:tav>
                                          </p:tavLst>
                                        </p:anim>
                                        <p:anim calcmode="lin" valueType="num">
                                          <p:cBhvr additive="base">
                                            <p:cTn id="26" dur="500" fill="hold"/>
                                            <p:tgtEl>
                                              <p:spTgt spid="298"/>
                                            </p:tgtEl>
                                            <p:attrNameLst>
                                              <p:attrName>ppt_y</p:attrName>
                                            </p:attrNameLst>
                                          </p:cBhvr>
                                          <p:tavLst>
                                            <p:tav tm="0">
                                              <p:val>
                                                <p:strVal val="#ppt_y"/>
                                              </p:val>
                                            </p:tav>
                                            <p:tav tm="100000">
                                              <p:val>
                                                <p:strVal val="#ppt_y"/>
                                              </p:val>
                                            </p:tav>
                                          </p:tavLst>
                                        </p:anim>
                                      </p:childTnLst>
                                    </p:cTn>
                                  </p:par>
                                  <p:par>
                                    <p:cTn id="27" presetID="22" presetClass="entr" presetSubtype="8" fill="hold" grpId="0" nodeType="withEffect">
                                      <p:stCondLst>
                                        <p:cond delay="1200"/>
                                      </p:stCondLst>
                                      <p:childTnLst>
                                        <p:set>
                                          <p:cBhvr>
                                            <p:cTn id="28" dur="1" fill="hold">
                                              <p:stCondLst>
                                                <p:cond delay="0"/>
                                              </p:stCondLst>
                                            </p:cTn>
                                            <p:tgtEl>
                                              <p:spTgt spid="295"/>
                                            </p:tgtEl>
                                            <p:attrNameLst>
                                              <p:attrName>style.visibility</p:attrName>
                                            </p:attrNameLst>
                                          </p:cBhvr>
                                          <p:to>
                                            <p:strVal val="visible"/>
                                          </p:to>
                                        </p:set>
                                        <p:animEffect transition="in" filter="wipe(left)">
                                          <p:cBhvr>
                                            <p:cTn id="29" dur="500"/>
                                            <p:tgtEl>
                                              <p:spTgt spid="295"/>
                                            </p:tgtEl>
                                          </p:cBhvr>
                                        </p:animEffect>
                                      </p:childTnLst>
                                    </p:cTn>
                                  </p:par>
                                  <p:par>
                                    <p:cTn id="30" presetID="22" presetClass="entr" presetSubtype="8" fill="hold" grpId="0" nodeType="withEffect">
                                      <p:stCondLst>
                                        <p:cond delay="1700"/>
                                      </p:stCondLst>
                                      <p:childTnLst>
                                        <p:set>
                                          <p:cBhvr>
                                            <p:cTn id="31" dur="1" fill="hold">
                                              <p:stCondLst>
                                                <p:cond delay="0"/>
                                              </p:stCondLst>
                                            </p:cTn>
                                            <p:tgtEl>
                                              <p:spTgt spid="297"/>
                                            </p:tgtEl>
                                            <p:attrNameLst>
                                              <p:attrName>style.visibility</p:attrName>
                                            </p:attrNameLst>
                                          </p:cBhvr>
                                          <p:to>
                                            <p:strVal val="visible"/>
                                          </p:to>
                                        </p:set>
                                        <p:animEffect transition="in" filter="wipe(left)">
                                          <p:cBhvr>
                                            <p:cTn id="32" dur="500"/>
                                            <p:tgtEl>
                                              <p:spTgt spid="2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 grpId="0" animBg="1"/>
          <p:bldP spid="292" grpId="0" animBg="1"/>
          <p:bldP spid="293" grpId="0" animBg="1"/>
          <p:bldP spid="294" grpId="0" animBg="1"/>
          <p:bldP spid="295" grpId="0" animBg="1"/>
          <p:bldP spid="296" grpId="0" animBg="1"/>
          <p:bldP spid="297" grpId="0" animBg="1"/>
          <p:bldP spid="298" grpId="0" animBg="1"/>
        </p:bldLst>
      </p:timing>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4" name="Freeform 7"/>
          <p:cNvSpPr/>
          <p:nvPr/>
        </p:nvSpPr>
        <p:spPr bwMode="auto">
          <a:xfrm>
            <a:off x="757178" y="1382875"/>
            <a:ext cx="5110966" cy="2557027"/>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5" name="组合 4"/>
          <p:cNvGrpSpPr/>
          <p:nvPr/>
        </p:nvGrpSpPr>
        <p:grpSpPr>
          <a:xfrm>
            <a:off x="759552" y="3089518"/>
            <a:ext cx="768785" cy="850384"/>
            <a:chOff x="759552" y="4082058"/>
            <a:chExt cx="768785" cy="850384"/>
          </a:xfrm>
        </p:grpSpPr>
        <p:sp>
          <p:nvSpPr>
            <p:cNvPr id="6" name="Freeform 7"/>
            <p:cNvSpPr/>
            <p:nvPr/>
          </p:nvSpPr>
          <p:spPr bwMode="auto">
            <a:xfrm>
              <a:off x="759552" y="4547817"/>
              <a:ext cx="768785" cy="384625"/>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7" name="TextBox 6"/>
            <p:cNvSpPr txBox="1"/>
            <p:nvPr/>
          </p:nvSpPr>
          <p:spPr>
            <a:xfrm>
              <a:off x="929401" y="4685189"/>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8" name="直接连接符 7"/>
            <p:cNvCxnSpPr>
              <a:stCxn id="6" idx="1"/>
            </p:cNvCxnSpPr>
            <p:nvPr/>
          </p:nvCxnSpPr>
          <p:spPr>
            <a:xfrm flipH="1" flipV="1">
              <a:off x="1143945" y="4336564"/>
              <a:ext cx="529" cy="211530"/>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33500" y="4082058"/>
              <a:ext cx="388248" cy="261610"/>
            </a:xfrm>
            <a:prstGeom prst="rect">
              <a:avLst/>
            </a:prstGeom>
            <a:noFill/>
          </p:spPr>
          <p:txBody>
            <a:bodyPr wrap="none" rtlCol="0">
              <a:spAutoFit/>
            </a:bodyPr>
            <a:lstStyle/>
            <a:p>
              <a:r>
                <a:rPr lang="en-US" altLang="zh-CN" sz="1100" dirty="0">
                  <a:solidFill>
                    <a:schemeClr val="bg1"/>
                  </a:solidFill>
                </a:rPr>
                <a:t>5%</a:t>
              </a:r>
              <a:endParaRPr lang="zh-CN" altLang="en-US" sz="1100" dirty="0">
                <a:solidFill>
                  <a:schemeClr val="bg1"/>
                </a:solidFill>
              </a:endParaRPr>
            </a:p>
          </p:txBody>
        </p:sp>
      </p:grpSp>
      <p:grpSp>
        <p:nvGrpSpPr>
          <p:cNvPr id="10" name="组合 9"/>
          <p:cNvGrpSpPr/>
          <p:nvPr/>
        </p:nvGrpSpPr>
        <p:grpSpPr>
          <a:xfrm>
            <a:off x="1528336" y="2433464"/>
            <a:ext cx="1119904" cy="1506437"/>
            <a:chOff x="1528336" y="3426004"/>
            <a:chExt cx="1119904" cy="1506437"/>
          </a:xfrm>
        </p:grpSpPr>
        <p:sp>
          <p:nvSpPr>
            <p:cNvPr id="11" name="Freeform 7"/>
            <p:cNvSpPr/>
            <p:nvPr/>
          </p:nvSpPr>
          <p:spPr bwMode="auto">
            <a:xfrm>
              <a:off x="1528336" y="4372151"/>
              <a:ext cx="1119904" cy="560290"/>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TextBox 11"/>
            <p:cNvSpPr txBox="1"/>
            <p:nvPr/>
          </p:nvSpPr>
          <p:spPr>
            <a:xfrm>
              <a:off x="1873746" y="4685189"/>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13" name="直接连接符 12"/>
            <p:cNvCxnSpPr/>
            <p:nvPr/>
          </p:nvCxnSpPr>
          <p:spPr>
            <a:xfrm flipV="1">
              <a:off x="2088288" y="3776202"/>
              <a:ext cx="0" cy="597249"/>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1861272" y="3426004"/>
              <a:ext cx="466794" cy="261610"/>
            </a:xfrm>
            <a:prstGeom prst="rect">
              <a:avLst/>
            </a:prstGeom>
            <a:noFill/>
          </p:spPr>
          <p:txBody>
            <a:bodyPr wrap="none" rtlCol="0">
              <a:spAutoFit/>
            </a:bodyPr>
            <a:lstStyle/>
            <a:p>
              <a:r>
                <a:rPr lang="en-US" altLang="zh-CN" sz="1100" dirty="0">
                  <a:solidFill>
                    <a:schemeClr val="bg1"/>
                  </a:solidFill>
                </a:rPr>
                <a:t>40%</a:t>
              </a:r>
              <a:endParaRPr lang="zh-CN" altLang="en-US" sz="1100" dirty="0">
                <a:solidFill>
                  <a:schemeClr val="bg1"/>
                </a:solidFill>
              </a:endParaRPr>
            </a:p>
          </p:txBody>
        </p:sp>
      </p:grpSp>
      <p:grpSp>
        <p:nvGrpSpPr>
          <p:cNvPr id="15" name="组合 14"/>
          <p:cNvGrpSpPr/>
          <p:nvPr/>
        </p:nvGrpSpPr>
        <p:grpSpPr>
          <a:xfrm>
            <a:off x="2648240" y="2854727"/>
            <a:ext cx="559952" cy="1085175"/>
            <a:chOff x="2648240" y="3847267"/>
            <a:chExt cx="559952" cy="1085175"/>
          </a:xfrm>
        </p:grpSpPr>
        <p:sp>
          <p:nvSpPr>
            <p:cNvPr id="16" name="Freeform 7"/>
            <p:cNvSpPr/>
            <p:nvPr/>
          </p:nvSpPr>
          <p:spPr bwMode="auto">
            <a:xfrm>
              <a:off x="2648240" y="4652295"/>
              <a:ext cx="559952" cy="280146"/>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7" name="TextBox 16"/>
            <p:cNvSpPr txBox="1"/>
            <p:nvPr/>
          </p:nvSpPr>
          <p:spPr>
            <a:xfrm>
              <a:off x="2713673" y="4686221"/>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18" name="直接连接符 17"/>
            <p:cNvCxnSpPr/>
            <p:nvPr/>
          </p:nvCxnSpPr>
          <p:spPr>
            <a:xfrm flipV="1">
              <a:off x="2928215" y="4178573"/>
              <a:ext cx="0" cy="473724"/>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688726" y="3847267"/>
              <a:ext cx="388248" cy="261610"/>
            </a:xfrm>
            <a:prstGeom prst="rect">
              <a:avLst/>
            </a:prstGeom>
            <a:noFill/>
          </p:spPr>
          <p:txBody>
            <a:bodyPr wrap="none" rtlCol="0">
              <a:spAutoFit/>
            </a:bodyPr>
            <a:lstStyle/>
            <a:p>
              <a:r>
                <a:rPr lang="en-US" altLang="zh-CN" sz="1100" dirty="0">
                  <a:solidFill>
                    <a:schemeClr val="bg1"/>
                  </a:solidFill>
                </a:rPr>
                <a:t>7%</a:t>
              </a:r>
              <a:endParaRPr lang="zh-CN" altLang="en-US" sz="1100" dirty="0">
                <a:solidFill>
                  <a:schemeClr val="bg1"/>
                </a:solidFill>
              </a:endParaRPr>
            </a:p>
          </p:txBody>
        </p:sp>
      </p:grpSp>
      <p:grpSp>
        <p:nvGrpSpPr>
          <p:cNvPr id="20" name="组合 19"/>
          <p:cNvGrpSpPr/>
          <p:nvPr/>
        </p:nvGrpSpPr>
        <p:grpSpPr>
          <a:xfrm>
            <a:off x="3208193" y="2097400"/>
            <a:ext cx="1191031" cy="1842502"/>
            <a:chOff x="3208193" y="3089940"/>
            <a:chExt cx="1191031" cy="1842502"/>
          </a:xfrm>
        </p:grpSpPr>
        <p:sp>
          <p:nvSpPr>
            <p:cNvPr id="21" name="Freeform 7"/>
            <p:cNvSpPr/>
            <p:nvPr/>
          </p:nvSpPr>
          <p:spPr bwMode="auto">
            <a:xfrm>
              <a:off x="3208193" y="4336565"/>
              <a:ext cx="1191031" cy="595877"/>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2" name="TextBox 21"/>
            <p:cNvSpPr txBox="1"/>
            <p:nvPr/>
          </p:nvSpPr>
          <p:spPr>
            <a:xfrm>
              <a:off x="3589165" y="4685189"/>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23" name="直接连接符 22"/>
            <p:cNvCxnSpPr/>
            <p:nvPr/>
          </p:nvCxnSpPr>
          <p:spPr>
            <a:xfrm flipV="1">
              <a:off x="3803707" y="3426004"/>
              <a:ext cx="0" cy="910562"/>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558427" y="3089940"/>
              <a:ext cx="466794" cy="261610"/>
            </a:xfrm>
            <a:prstGeom prst="rect">
              <a:avLst/>
            </a:prstGeom>
            <a:noFill/>
          </p:spPr>
          <p:txBody>
            <a:bodyPr wrap="none" rtlCol="0">
              <a:spAutoFit/>
            </a:bodyPr>
            <a:lstStyle/>
            <a:p>
              <a:r>
                <a:rPr lang="en-US" altLang="zh-CN" sz="1100" dirty="0">
                  <a:solidFill>
                    <a:schemeClr val="bg1"/>
                  </a:solidFill>
                </a:rPr>
                <a:t>50%</a:t>
              </a:r>
              <a:endParaRPr lang="zh-CN" altLang="en-US" sz="1100" dirty="0">
                <a:solidFill>
                  <a:schemeClr val="bg1"/>
                </a:solidFill>
              </a:endParaRPr>
            </a:p>
          </p:txBody>
        </p:sp>
      </p:grpSp>
      <p:grpSp>
        <p:nvGrpSpPr>
          <p:cNvPr id="25" name="组合 24"/>
          <p:cNvGrpSpPr/>
          <p:nvPr/>
        </p:nvGrpSpPr>
        <p:grpSpPr>
          <a:xfrm>
            <a:off x="4399224" y="2835060"/>
            <a:ext cx="700133" cy="1104841"/>
            <a:chOff x="4399224" y="3827600"/>
            <a:chExt cx="700133" cy="1104841"/>
          </a:xfrm>
        </p:grpSpPr>
        <p:sp>
          <p:nvSpPr>
            <p:cNvPr id="26" name="Freeform 7"/>
            <p:cNvSpPr/>
            <p:nvPr/>
          </p:nvSpPr>
          <p:spPr bwMode="auto">
            <a:xfrm>
              <a:off x="4399224" y="4582163"/>
              <a:ext cx="700133" cy="350278"/>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7" name="TextBox 26"/>
            <p:cNvSpPr txBox="1"/>
            <p:nvPr/>
          </p:nvSpPr>
          <p:spPr>
            <a:xfrm>
              <a:off x="4534747" y="4685189"/>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28" name="直接连接符 27"/>
            <p:cNvCxnSpPr/>
            <p:nvPr/>
          </p:nvCxnSpPr>
          <p:spPr>
            <a:xfrm flipV="1">
              <a:off x="4749290" y="4101725"/>
              <a:ext cx="0" cy="473724"/>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522274" y="3827600"/>
              <a:ext cx="466794" cy="261610"/>
            </a:xfrm>
            <a:prstGeom prst="rect">
              <a:avLst/>
            </a:prstGeom>
            <a:noFill/>
          </p:spPr>
          <p:txBody>
            <a:bodyPr wrap="none" rtlCol="0">
              <a:spAutoFit/>
            </a:bodyPr>
            <a:lstStyle/>
            <a:p>
              <a:r>
                <a:rPr lang="en-US" altLang="zh-CN" sz="1100" dirty="0">
                  <a:solidFill>
                    <a:schemeClr val="bg1"/>
                  </a:solidFill>
                </a:rPr>
                <a:t>35%</a:t>
              </a:r>
              <a:endParaRPr lang="zh-CN" altLang="en-US" sz="1100" dirty="0">
                <a:solidFill>
                  <a:schemeClr val="bg1"/>
                </a:solidFill>
              </a:endParaRPr>
            </a:p>
          </p:txBody>
        </p:sp>
      </p:grpSp>
      <p:grpSp>
        <p:nvGrpSpPr>
          <p:cNvPr id="30" name="组合 29"/>
          <p:cNvGrpSpPr/>
          <p:nvPr/>
        </p:nvGrpSpPr>
        <p:grpSpPr>
          <a:xfrm>
            <a:off x="5099357" y="2981956"/>
            <a:ext cx="768787" cy="957945"/>
            <a:chOff x="5099357" y="3974496"/>
            <a:chExt cx="768787" cy="957945"/>
          </a:xfrm>
        </p:grpSpPr>
        <p:sp>
          <p:nvSpPr>
            <p:cNvPr id="31" name="Freeform 7"/>
            <p:cNvSpPr/>
            <p:nvPr/>
          </p:nvSpPr>
          <p:spPr bwMode="auto">
            <a:xfrm>
              <a:off x="5099357" y="4547815"/>
              <a:ext cx="768787" cy="384626"/>
            </a:xfrm>
            <a:custGeom>
              <a:avLst/>
              <a:gdLst>
                <a:gd name="T0" fmla="*/ 0 w 27592"/>
                <a:gd name="T1" fmla="*/ 13788 h 13806"/>
                <a:gd name="T2" fmla="*/ 13815 w 27592"/>
                <a:gd name="T3" fmla="*/ 10 h 13806"/>
                <a:gd name="T4" fmla="*/ 27592 w 27592"/>
                <a:gd name="T5" fmla="*/ 13806 h 13806"/>
                <a:gd name="T6" fmla="*/ 13796 w 27592"/>
                <a:gd name="T7" fmla="*/ 13806 h 13806"/>
                <a:gd name="T8" fmla="*/ 0 w 27592"/>
                <a:gd name="T9" fmla="*/ 13788 h 13806"/>
              </a:gdLst>
              <a:ahLst/>
              <a:cxnLst>
                <a:cxn ang="0">
                  <a:pos x="T0" y="T1"/>
                </a:cxn>
                <a:cxn ang="0">
                  <a:pos x="T2" y="T3"/>
                </a:cxn>
                <a:cxn ang="0">
                  <a:pos x="T4" y="T5"/>
                </a:cxn>
                <a:cxn ang="0">
                  <a:pos x="T6" y="T7"/>
                </a:cxn>
                <a:cxn ang="0">
                  <a:pos x="T8" y="T9"/>
                </a:cxn>
              </a:cxnLst>
              <a:rect l="0" t="0" r="r" b="b"/>
              <a:pathLst>
                <a:path w="27592" h="13806">
                  <a:moveTo>
                    <a:pt x="0" y="13788"/>
                  </a:moveTo>
                  <a:cubicBezTo>
                    <a:pt x="11" y="6168"/>
                    <a:pt x="6196" y="0"/>
                    <a:pt x="13815" y="10"/>
                  </a:cubicBezTo>
                  <a:cubicBezTo>
                    <a:pt x="21427" y="21"/>
                    <a:pt x="27592" y="6195"/>
                    <a:pt x="27592" y="13806"/>
                  </a:cubicBezTo>
                  <a:lnTo>
                    <a:pt x="13796" y="13806"/>
                  </a:lnTo>
                  <a:lnTo>
                    <a:pt x="0" y="13788"/>
                  </a:lnTo>
                  <a:close/>
                </a:path>
              </a:pathLst>
            </a:cu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32" name="TextBox 31"/>
            <p:cNvSpPr txBox="1"/>
            <p:nvPr/>
          </p:nvSpPr>
          <p:spPr>
            <a:xfrm>
              <a:off x="5269207" y="4685189"/>
              <a:ext cx="441146" cy="246221"/>
            </a:xfrm>
            <a:prstGeom prst="rect">
              <a:avLst/>
            </a:prstGeom>
            <a:noFill/>
          </p:spPr>
          <p:txBody>
            <a:bodyPr wrap="none" rtlCol="0">
              <a:spAutoFit/>
            </a:bodyPr>
            <a:lstStyle/>
            <a:p>
              <a:r>
                <a:rPr lang="zh-CN" altLang="en-US" sz="1000" dirty="0">
                  <a:solidFill>
                    <a:schemeClr val="bg1"/>
                  </a:solidFill>
                </a:rPr>
                <a:t>文本</a:t>
              </a:r>
            </a:p>
          </p:txBody>
        </p:sp>
        <p:cxnSp>
          <p:nvCxnSpPr>
            <p:cNvPr id="33" name="直接连接符 32"/>
            <p:cNvCxnSpPr/>
            <p:nvPr/>
          </p:nvCxnSpPr>
          <p:spPr>
            <a:xfrm flipH="1" flipV="1">
              <a:off x="5469968" y="4328198"/>
              <a:ext cx="529" cy="211530"/>
            </a:xfrm>
            <a:prstGeom prst="line">
              <a:avLst/>
            </a:prstGeom>
            <a:ln>
              <a:solidFill>
                <a:srgbClr val="787878"/>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242951" y="3974496"/>
              <a:ext cx="466794" cy="261610"/>
            </a:xfrm>
            <a:prstGeom prst="rect">
              <a:avLst/>
            </a:prstGeom>
            <a:noFill/>
          </p:spPr>
          <p:txBody>
            <a:bodyPr wrap="none" rtlCol="0">
              <a:spAutoFit/>
            </a:bodyPr>
            <a:lstStyle/>
            <a:p>
              <a:r>
                <a:rPr lang="en-US" altLang="zh-CN" sz="1100" dirty="0">
                  <a:solidFill>
                    <a:schemeClr val="bg1"/>
                  </a:solidFill>
                </a:rPr>
                <a:t>20%</a:t>
              </a:r>
              <a:endParaRPr lang="zh-CN" altLang="en-US" sz="1100" dirty="0">
                <a:solidFill>
                  <a:schemeClr val="bg1"/>
                </a:solidFill>
              </a:endParaRPr>
            </a:p>
          </p:txBody>
        </p:sp>
      </p:grpSp>
      <p:sp>
        <p:nvSpPr>
          <p:cNvPr id="35" name="TextBox 34"/>
          <p:cNvSpPr txBox="1"/>
          <p:nvPr/>
        </p:nvSpPr>
        <p:spPr>
          <a:xfrm>
            <a:off x="6156176" y="3016571"/>
            <a:ext cx="2376264" cy="923330"/>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
        <p:nvSpPr>
          <p:cNvPr id="36" name="TextBox 35"/>
          <p:cNvSpPr txBox="1"/>
          <p:nvPr/>
        </p:nvSpPr>
        <p:spPr>
          <a:xfrm>
            <a:off x="6156176" y="1860331"/>
            <a:ext cx="2376264" cy="923330"/>
          </a:xfrm>
          <a:prstGeom prst="rect">
            <a:avLst/>
          </a:prstGeom>
          <a:noFill/>
        </p:spPr>
        <p:txBody>
          <a:bodyPr wrap="square" rtlCol="0">
            <a:spAutoFit/>
          </a:bodyPr>
          <a:lstStyle/>
          <a:p>
            <a:pPr>
              <a:lnSpc>
                <a:spcPct val="150000"/>
              </a:lnSpc>
            </a:pPr>
            <a:r>
              <a:rPr lang="zh-CN" altLang="en-US" sz="1200" dirty="0">
                <a:solidFill>
                  <a:schemeClr val="tx1">
                    <a:lumMod val="75000"/>
                    <a:lumOff val="25000"/>
                  </a:schemeClr>
                </a:solidFill>
              </a:rPr>
              <a:t>这里根据您的需要输入介绍文本，这里根据您的需要输入介绍文本，这里根据您的需要输入介绍文本。</a:t>
            </a:r>
          </a:p>
        </p:txBody>
      </p:sp>
    </p:spTree>
  </p:cSld>
  <p:clrMapOvr>
    <a:masterClrMapping/>
  </p:clrMapOvr>
  <p:transition spd="slow" advTm="30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par>
                                <p:cTn id="12" presetID="22" presetClass="entr" presetSubtype="4" fill="hold" nodeType="withEffect">
                                  <p:stCondLst>
                                    <p:cond delay="200"/>
                                  </p:stCondLst>
                                  <p:childTnLst>
                                    <p:set>
                                      <p:cBhvr>
                                        <p:cTn id="13" dur="1" fill="hold">
                                          <p:stCondLst>
                                            <p:cond delay="0"/>
                                          </p:stCondLst>
                                        </p:cTn>
                                        <p:tgtEl>
                                          <p:spTgt spid="10"/>
                                        </p:tgtEl>
                                        <p:attrNameLst>
                                          <p:attrName>style.visibility</p:attrName>
                                        </p:attrNameLst>
                                      </p:cBhvr>
                                      <p:to>
                                        <p:strVal val="visible"/>
                                      </p:to>
                                    </p:set>
                                    <p:animEffect transition="in" filter="wipe(down)">
                                      <p:cBhvr>
                                        <p:cTn id="14" dur="500"/>
                                        <p:tgtEl>
                                          <p:spTgt spid="10"/>
                                        </p:tgtEl>
                                      </p:cBhvr>
                                    </p:animEffect>
                                  </p:childTnLst>
                                </p:cTn>
                              </p:par>
                              <p:par>
                                <p:cTn id="15" presetID="22" presetClass="entr" presetSubtype="4" fill="hold" nodeType="withEffect">
                                  <p:stCondLst>
                                    <p:cond delay="300"/>
                                  </p:stCondLst>
                                  <p:childTnLst>
                                    <p:set>
                                      <p:cBhvr>
                                        <p:cTn id="16" dur="1" fill="hold">
                                          <p:stCondLst>
                                            <p:cond delay="0"/>
                                          </p:stCondLst>
                                        </p:cTn>
                                        <p:tgtEl>
                                          <p:spTgt spid="15"/>
                                        </p:tgtEl>
                                        <p:attrNameLst>
                                          <p:attrName>style.visibility</p:attrName>
                                        </p:attrNameLst>
                                      </p:cBhvr>
                                      <p:to>
                                        <p:strVal val="visible"/>
                                      </p:to>
                                    </p:set>
                                    <p:animEffect transition="in" filter="wipe(down)">
                                      <p:cBhvr>
                                        <p:cTn id="17" dur="500"/>
                                        <p:tgtEl>
                                          <p:spTgt spid="15"/>
                                        </p:tgtEl>
                                      </p:cBhvr>
                                    </p:animEffect>
                                  </p:childTnLst>
                                </p:cTn>
                              </p:par>
                              <p:par>
                                <p:cTn id="18" presetID="22" presetClass="entr" presetSubtype="4" fill="hold" nodeType="withEffect">
                                  <p:stCondLst>
                                    <p:cond delay="400"/>
                                  </p:stCondLst>
                                  <p:childTnLst>
                                    <p:set>
                                      <p:cBhvr>
                                        <p:cTn id="19" dur="1" fill="hold">
                                          <p:stCondLst>
                                            <p:cond delay="0"/>
                                          </p:stCondLst>
                                        </p:cTn>
                                        <p:tgtEl>
                                          <p:spTgt spid="20"/>
                                        </p:tgtEl>
                                        <p:attrNameLst>
                                          <p:attrName>style.visibility</p:attrName>
                                        </p:attrNameLst>
                                      </p:cBhvr>
                                      <p:to>
                                        <p:strVal val="visible"/>
                                      </p:to>
                                    </p:set>
                                    <p:animEffect transition="in" filter="wipe(down)">
                                      <p:cBhvr>
                                        <p:cTn id="20" dur="500"/>
                                        <p:tgtEl>
                                          <p:spTgt spid="20"/>
                                        </p:tgtEl>
                                      </p:cBhvr>
                                    </p:animEffect>
                                  </p:childTnLst>
                                </p:cTn>
                              </p:par>
                              <p:par>
                                <p:cTn id="21" presetID="22" presetClass="entr" presetSubtype="4" fill="hold" nodeType="withEffect">
                                  <p:stCondLst>
                                    <p:cond delay="500"/>
                                  </p:stCondLst>
                                  <p:childTnLst>
                                    <p:set>
                                      <p:cBhvr>
                                        <p:cTn id="22" dur="1" fill="hold">
                                          <p:stCondLst>
                                            <p:cond delay="0"/>
                                          </p:stCondLst>
                                        </p:cTn>
                                        <p:tgtEl>
                                          <p:spTgt spid="25"/>
                                        </p:tgtEl>
                                        <p:attrNameLst>
                                          <p:attrName>style.visibility</p:attrName>
                                        </p:attrNameLst>
                                      </p:cBhvr>
                                      <p:to>
                                        <p:strVal val="visible"/>
                                      </p:to>
                                    </p:set>
                                    <p:animEffect transition="in" filter="wipe(down)">
                                      <p:cBhvr>
                                        <p:cTn id="23" dur="500"/>
                                        <p:tgtEl>
                                          <p:spTgt spid="25"/>
                                        </p:tgtEl>
                                      </p:cBhvr>
                                    </p:animEffect>
                                  </p:childTnLst>
                                </p:cTn>
                              </p:par>
                              <p:par>
                                <p:cTn id="24" presetID="22" presetClass="entr" presetSubtype="4" fill="hold" nodeType="withEffect">
                                  <p:stCondLst>
                                    <p:cond delay="600"/>
                                  </p:stCondLst>
                                  <p:childTnLst>
                                    <p:set>
                                      <p:cBhvr>
                                        <p:cTn id="25" dur="1" fill="hold">
                                          <p:stCondLst>
                                            <p:cond delay="0"/>
                                          </p:stCondLst>
                                        </p:cTn>
                                        <p:tgtEl>
                                          <p:spTgt spid="30"/>
                                        </p:tgtEl>
                                        <p:attrNameLst>
                                          <p:attrName>style.visibility</p:attrName>
                                        </p:attrNameLst>
                                      </p:cBhvr>
                                      <p:to>
                                        <p:strVal val="visible"/>
                                      </p:to>
                                    </p:set>
                                    <p:animEffect transition="in" filter="wipe(down)">
                                      <p:cBhvr>
                                        <p:cTn id="26" dur="500"/>
                                        <p:tgtEl>
                                          <p:spTgt spid="30"/>
                                        </p:tgtEl>
                                      </p:cBhvr>
                                    </p:animEffect>
                                  </p:childTnLst>
                                </p:cTn>
                              </p:par>
                            </p:childTnLst>
                          </p:cTn>
                        </p:par>
                        <p:par>
                          <p:cTn id="27" fill="hold">
                            <p:stCondLst>
                              <p:cond delay="1000"/>
                            </p:stCondLst>
                            <p:childTnLst>
                              <p:par>
                                <p:cTn id="28" presetID="22" presetClass="entr" presetSubtype="1"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wipe(up)">
                                      <p:cBhvr>
                                        <p:cTn id="30" dur="500"/>
                                        <p:tgtEl>
                                          <p:spTgt spid="36"/>
                                        </p:tgtEl>
                                      </p:cBhvr>
                                    </p:animEffect>
                                  </p:childTnLst>
                                </p:cTn>
                              </p:par>
                              <p:par>
                                <p:cTn id="31" presetID="22" presetClass="entr" presetSubtype="1" fill="hold" grpId="0" nodeType="with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wipe(up)">
                                      <p:cBhvr>
                                        <p:cTn id="33"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5" grpId="0"/>
      <p:bldP spid="3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cxnSp>
        <p:nvCxnSpPr>
          <p:cNvPr id="4" name="直接连接符 3"/>
          <p:cNvCxnSpPr/>
          <p:nvPr/>
        </p:nvCxnSpPr>
        <p:spPr>
          <a:xfrm>
            <a:off x="0" y="2689808"/>
            <a:ext cx="9144000" cy="0"/>
          </a:xfrm>
          <a:prstGeom prst="line">
            <a:avLst/>
          </a:prstGeom>
          <a:ln w="12700">
            <a:solidFill>
              <a:srgbClr val="A9A9A9"/>
            </a:solidFill>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1043609" y="1275606"/>
            <a:ext cx="1637027" cy="1522214"/>
            <a:chOff x="1043609" y="2158814"/>
            <a:chExt cx="1637027" cy="1522214"/>
          </a:xfrm>
        </p:grpSpPr>
        <p:grpSp>
          <p:nvGrpSpPr>
            <p:cNvPr id="6" name="组合 5"/>
            <p:cNvGrpSpPr/>
            <p:nvPr/>
          </p:nvGrpSpPr>
          <p:grpSpPr>
            <a:xfrm>
              <a:off x="1043609" y="2158814"/>
              <a:ext cx="1637027" cy="1522214"/>
              <a:chOff x="1115616" y="1301564"/>
              <a:chExt cx="1637027" cy="1522214"/>
            </a:xfrm>
          </p:grpSpPr>
          <p:sp>
            <p:nvSpPr>
              <p:cNvPr id="11" name="椭圆 10"/>
              <p:cNvSpPr/>
              <p:nvPr/>
            </p:nvSpPr>
            <p:spPr>
              <a:xfrm>
                <a:off x="1115616" y="2607754"/>
                <a:ext cx="216024" cy="216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2" name="任意多边形 11"/>
              <p:cNvSpPr/>
              <p:nvPr/>
            </p:nvSpPr>
            <p:spPr>
              <a:xfrm>
                <a:off x="1233714" y="1625600"/>
                <a:ext cx="870857" cy="986971"/>
              </a:xfrm>
              <a:custGeom>
                <a:avLst/>
                <a:gdLst>
                  <a:gd name="connsiteX0" fmla="*/ 0 w 870857"/>
                  <a:gd name="connsiteY0" fmla="*/ 986971 h 986971"/>
                  <a:gd name="connsiteX1" fmla="*/ 0 w 870857"/>
                  <a:gd name="connsiteY1" fmla="*/ 0 h 986971"/>
                  <a:gd name="connsiteX2" fmla="*/ 870857 w 870857"/>
                  <a:gd name="connsiteY2" fmla="*/ 0 h 986971"/>
                </a:gdLst>
                <a:ahLst/>
                <a:cxnLst>
                  <a:cxn ang="0">
                    <a:pos x="connsiteX0" y="connsiteY0"/>
                  </a:cxn>
                  <a:cxn ang="0">
                    <a:pos x="connsiteX1" y="connsiteY1"/>
                  </a:cxn>
                  <a:cxn ang="0">
                    <a:pos x="connsiteX2" y="connsiteY2"/>
                  </a:cxn>
                </a:cxnLst>
                <a:rect l="l" t="t" r="r" b="b"/>
                <a:pathLst>
                  <a:path w="870857" h="986971">
                    <a:moveTo>
                      <a:pt x="0" y="986971"/>
                    </a:moveTo>
                    <a:lnTo>
                      <a:pt x="0" y="0"/>
                    </a:lnTo>
                    <a:lnTo>
                      <a:pt x="870857" y="0"/>
                    </a:lnTo>
                  </a:path>
                </a:pathLst>
              </a:custGeom>
              <a:noFill/>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bg1">
                      <a:lumMod val="50000"/>
                    </a:schemeClr>
                  </a:solidFill>
                </a:endParaRPr>
              </a:p>
            </p:txBody>
          </p:sp>
          <p:sp>
            <p:nvSpPr>
              <p:cNvPr id="13" name="椭圆 12"/>
              <p:cNvSpPr/>
              <p:nvPr/>
            </p:nvSpPr>
            <p:spPr>
              <a:xfrm>
                <a:off x="2104571" y="1301564"/>
                <a:ext cx="648072" cy="648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grpSp>
        <p:grpSp>
          <p:nvGrpSpPr>
            <p:cNvPr id="7" name="Group 27"/>
            <p:cNvGrpSpPr>
              <a:grpSpLocks noChangeAspect="1"/>
            </p:cNvGrpSpPr>
            <p:nvPr/>
          </p:nvGrpSpPr>
          <p:grpSpPr bwMode="auto">
            <a:xfrm>
              <a:off x="2211683" y="2340224"/>
              <a:ext cx="289833" cy="285252"/>
              <a:chOff x="-2952" y="-1157"/>
              <a:chExt cx="3605" cy="3548"/>
            </a:xfrm>
          </p:grpSpPr>
          <p:sp>
            <p:nvSpPr>
              <p:cNvPr id="8" name="Freeform 28"/>
              <p:cNvSpPr/>
              <p:nvPr/>
            </p:nvSpPr>
            <p:spPr bwMode="auto">
              <a:xfrm>
                <a:off x="-1015" y="806"/>
                <a:ext cx="574" cy="550"/>
              </a:xfrm>
              <a:custGeom>
                <a:avLst/>
                <a:gdLst>
                  <a:gd name="T0" fmla="*/ 181 w 243"/>
                  <a:gd name="T1" fmla="*/ 76 h 233"/>
                  <a:gd name="T2" fmla="*/ 172 w 243"/>
                  <a:gd name="T3" fmla="*/ 75 h 233"/>
                  <a:gd name="T4" fmla="*/ 154 w 243"/>
                  <a:gd name="T5" fmla="*/ 58 h 233"/>
                  <a:gd name="T6" fmla="*/ 133 w 243"/>
                  <a:gd name="T7" fmla="*/ 64 h 233"/>
                  <a:gd name="T8" fmla="*/ 75 w 243"/>
                  <a:gd name="T9" fmla="*/ 9 h 233"/>
                  <a:gd name="T10" fmla="*/ 13 w 243"/>
                  <a:gd name="T11" fmla="*/ 75 h 233"/>
                  <a:gd name="T12" fmla="*/ 71 w 243"/>
                  <a:gd name="T13" fmla="*/ 129 h 233"/>
                  <a:gd name="T14" fmla="*/ 69 w 243"/>
                  <a:gd name="T15" fmla="*/ 150 h 233"/>
                  <a:gd name="T16" fmla="*/ 86 w 243"/>
                  <a:gd name="T17" fmla="*/ 166 h 233"/>
                  <a:gd name="T18" fmla="*/ 88 w 243"/>
                  <a:gd name="T19" fmla="*/ 176 h 233"/>
                  <a:gd name="T20" fmla="*/ 150 w 243"/>
                  <a:gd name="T21" fmla="*/ 233 h 233"/>
                  <a:gd name="T22" fmla="*/ 243 w 243"/>
                  <a:gd name="T23" fmla="*/ 133 h 233"/>
                  <a:gd name="T24" fmla="*/ 181 w 243"/>
                  <a:gd name="T25" fmla="*/ 7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233">
                    <a:moveTo>
                      <a:pt x="181" y="76"/>
                    </a:moveTo>
                    <a:cubicBezTo>
                      <a:pt x="179" y="74"/>
                      <a:pt x="176" y="74"/>
                      <a:pt x="172" y="75"/>
                    </a:cubicBezTo>
                    <a:cubicBezTo>
                      <a:pt x="168" y="71"/>
                      <a:pt x="161" y="65"/>
                      <a:pt x="154" y="58"/>
                    </a:cubicBezTo>
                    <a:cubicBezTo>
                      <a:pt x="150" y="55"/>
                      <a:pt x="143" y="58"/>
                      <a:pt x="133" y="64"/>
                    </a:cubicBezTo>
                    <a:cubicBezTo>
                      <a:pt x="119" y="51"/>
                      <a:pt x="83" y="17"/>
                      <a:pt x="75" y="9"/>
                    </a:cubicBezTo>
                    <a:cubicBezTo>
                      <a:pt x="64" y="0"/>
                      <a:pt x="0" y="64"/>
                      <a:pt x="13" y="75"/>
                    </a:cubicBezTo>
                    <a:cubicBezTo>
                      <a:pt x="22" y="84"/>
                      <a:pt x="57" y="116"/>
                      <a:pt x="71" y="129"/>
                    </a:cubicBezTo>
                    <a:cubicBezTo>
                      <a:pt x="66" y="139"/>
                      <a:pt x="64" y="146"/>
                      <a:pt x="69" y="150"/>
                    </a:cubicBezTo>
                    <a:cubicBezTo>
                      <a:pt x="75" y="157"/>
                      <a:pt x="81" y="162"/>
                      <a:pt x="86" y="166"/>
                    </a:cubicBezTo>
                    <a:cubicBezTo>
                      <a:pt x="85" y="170"/>
                      <a:pt x="85" y="174"/>
                      <a:pt x="88" y="176"/>
                    </a:cubicBezTo>
                    <a:cubicBezTo>
                      <a:pt x="97" y="183"/>
                      <a:pt x="121" y="206"/>
                      <a:pt x="150" y="233"/>
                    </a:cubicBezTo>
                    <a:cubicBezTo>
                      <a:pt x="243" y="133"/>
                      <a:pt x="243" y="133"/>
                      <a:pt x="243" y="133"/>
                    </a:cubicBezTo>
                    <a:cubicBezTo>
                      <a:pt x="215" y="108"/>
                      <a:pt x="193" y="86"/>
                      <a:pt x="181" y="7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bg1">
                      <a:lumMod val="50000"/>
                    </a:schemeClr>
                  </a:solidFill>
                </a:endParaRPr>
              </a:p>
            </p:txBody>
          </p:sp>
          <p:sp>
            <p:nvSpPr>
              <p:cNvPr id="9" name="Freeform 29"/>
              <p:cNvSpPr>
                <a:spLocks noEditPoints="1"/>
              </p:cNvSpPr>
              <p:nvPr/>
            </p:nvSpPr>
            <p:spPr bwMode="auto">
              <a:xfrm>
                <a:off x="-741" y="1052"/>
                <a:ext cx="1394" cy="1339"/>
              </a:xfrm>
              <a:custGeom>
                <a:avLst/>
                <a:gdLst>
                  <a:gd name="T0" fmla="*/ 383 w 590"/>
                  <a:gd name="T1" fmla="*/ 553 h 567"/>
                  <a:gd name="T2" fmla="*/ 20 w 590"/>
                  <a:gd name="T3" fmla="*/ 219 h 567"/>
                  <a:gd name="T4" fmla="*/ 20 w 590"/>
                  <a:gd name="T5" fmla="*/ 219 h 567"/>
                  <a:gd name="T6" fmla="*/ 2 w 590"/>
                  <a:gd name="T7" fmla="*/ 168 h 567"/>
                  <a:gd name="T8" fmla="*/ 2 w 590"/>
                  <a:gd name="T9" fmla="*/ 168 h 567"/>
                  <a:gd name="T10" fmla="*/ 22 w 590"/>
                  <a:gd name="T11" fmla="*/ 116 h 567"/>
                  <a:gd name="T12" fmla="*/ 22 w 590"/>
                  <a:gd name="T13" fmla="*/ 116 h 567"/>
                  <a:gd name="T14" fmla="*/ 56 w 590"/>
                  <a:gd name="T15" fmla="*/ 74 h 567"/>
                  <a:gd name="T16" fmla="*/ 56 w 590"/>
                  <a:gd name="T17" fmla="*/ 74 h 567"/>
                  <a:gd name="T18" fmla="*/ 137 w 590"/>
                  <a:gd name="T19" fmla="*/ 8 h 567"/>
                  <a:gd name="T20" fmla="*/ 137 w 590"/>
                  <a:gd name="T21" fmla="*/ 8 h 567"/>
                  <a:gd name="T22" fmla="*/ 175 w 590"/>
                  <a:gd name="T23" fmla="*/ 1 h 567"/>
                  <a:gd name="T24" fmla="*/ 175 w 590"/>
                  <a:gd name="T25" fmla="*/ 1 h 567"/>
                  <a:gd name="T26" fmla="*/ 209 w 590"/>
                  <a:gd name="T27" fmla="*/ 16 h 567"/>
                  <a:gd name="T28" fmla="*/ 209 w 590"/>
                  <a:gd name="T29" fmla="*/ 16 h 567"/>
                  <a:gd name="T30" fmla="*/ 573 w 590"/>
                  <a:gd name="T31" fmla="*/ 351 h 567"/>
                  <a:gd name="T32" fmla="*/ 573 w 590"/>
                  <a:gd name="T33" fmla="*/ 351 h 567"/>
                  <a:gd name="T34" fmla="*/ 573 w 590"/>
                  <a:gd name="T35" fmla="*/ 351 h 567"/>
                  <a:gd name="T36" fmla="*/ 589 w 590"/>
                  <a:gd name="T37" fmla="*/ 394 h 567"/>
                  <a:gd name="T38" fmla="*/ 589 w 590"/>
                  <a:gd name="T39" fmla="*/ 394 h 567"/>
                  <a:gd name="T40" fmla="*/ 581 w 590"/>
                  <a:gd name="T41" fmla="*/ 420 h 567"/>
                  <a:gd name="T42" fmla="*/ 581 w 590"/>
                  <a:gd name="T43" fmla="*/ 420 h 567"/>
                  <a:gd name="T44" fmla="*/ 571 w 590"/>
                  <a:gd name="T45" fmla="*/ 435 h 567"/>
                  <a:gd name="T46" fmla="*/ 571 w 590"/>
                  <a:gd name="T47" fmla="*/ 435 h 567"/>
                  <a:gd name="T48" fmla="*/ 547 w 590"/>
                  <a:gd name="T49" fmla="*/ 466 h 567"/>
                  <a:gd name="T50" fmla="*/ 547 w 590"/>
                  <a:gd name="T51" fmla="*/ 466 h 567"/>
                  <a:gd name="T52" fmla="*/ 485 w 590"/>
                  <a:gd name="T53" fmla="*/ 531 h 567"/>
                  <a:gd name="T54" fmla="*/ 485 w 590"/>
                  <a:gd name="T55" fmla="*/ 531 h 567"/>
                  <a:gd name="T56" fmla="*/ 442 w 590"/>
                  <a:gd name="T57" fmla="*/ 562 h 567"/>
                  <a:gd name="T58" fmla="*/ 442 w 590"/>
                  <a:gd name="T59" fmla="*/ 562 h 567"/>
                  <a:gd name="T60" fmla="*/ 414 w 590"/>
                  <a:gd name="T61" fmla="*/ 566 h 567"/>
                  <a:gd name="T62" fmla="*/ 414 w 590"/>
                  <a:gd name="T63" fmla="*/ 566 h 567"/>
                  <a:gd name="T64" fmla="*/ 414 w 590"/>
                  <a:gd name="T65" fmla="*/ 566 h 567"/>
                  <a:gd name="T66" fmla="*/ 414 w 590"/>
                  <a:gd name="T67" fmla="*/ 566 h 567"/>
                  <a:gd name="T68" fmla="*/ 383 w 590"/>
                  <a:gd name="T69" fmla="*/ 553 h 567"/>
                  <a:gd name="T70" fmla="*/ 422 w 590"/>
                  <a:gd name="T71" fmla="*/ 454 h 567"/>
                  <a:gd name="T72" fmla="*/ 425 w 590"/>
                  <a:gd name="T73" fmla="*/ 452 h 567"/>
                  <a:gd name="T74" fmla="*/ 425 w 590"/>
                  <a:gd name="T75" fmla="*/ 452 h 567"/>
                  <a:gd name="T76" fmla="*/ 476 w 590"/>
                  <a:gd name="T77" fmla="*/ 397 h 567"/>
                  <a:gd name="T78" fmla="*/ 476 w 590"/>
                  <a:gd name="T79" fmla="*/ 397 h 567"/>
                  <a:gd name="T80" fmla="*/ 476 w 590"/>
                  <a:gd name="T81" fmla="*/ 396 h 567"/>
                  <a:gd name="T82" fmla="*/ 476 w 590"/>
                  <a:gd name="T83" fmla="*/ 396 h 567"/>
                  <a:gd name="T84" fmla="*/ 163 w 590"/>
                  <a:gd name="T85" fmla="*/ 108 h 567"/>
                  <a:gd name="T86" fmla="*/ 163 w 590"/>
                  <a:gd name="T87" fmla="*/ 108 h 567"/>
                  <a:gd name="T88" fmla="*/ 157 w 590"/>
                  <a:gd name="T89" fmla="*/ 113 h 567"/>
                  <a:gd name="T90" fmla="*/ 157 w 590"/>
                  <a:gd name="T91" fmla="*/ 113 h 567"/>
                  <a:gd name="T92" fmla="*/ 112 w 590"/>
                  <a:gd name="T93" fmla="*/ 160 h 567"/>
                  <a:gd name="T94" fmla="*/ 112 w 590"/>
                  <a:gd name="T95" fmla="*/ 160 h 567"/>
                  <a:gd name="T96" fmla="*/ 108 w 590"/>
                  <a:gd name="T97" fmla="*/ 165 h 567"/>
                  <a:gd name="T98" fmla="*/ 108 w 590"/>
                  <a:gd name="T99" fmla="*/ 165 h 567"/>
                  <a:gd name="T100" fmla="*/ 422 w 590"/>
                  <a:gd name="T101" fmla="*/ 454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0" h="567">
                    <a:moveTo>
                      <a:pt x="383" y="553"/>
                    </a:moveTo>
                    <a:cubicBezTo>
                      <a:pt x="374" y="544"/>
                      <a:pt x="31" y="229"/>
                      <a:pt x="20" y="219"/>
                    </a:cubicBezTo>
                    <a:cubicBezTo>
                      <a:pt x="20" y="219"/>
                      <a:pt x="20" y="219"/>
                      <a:pt x="20" y="219"/>
                    </a:cubicBezTo>
                    <a:cubicBezTo>
                      <a:pt x="4" y="204"/>
                      <a:pt x="0" y="181"/>
                      <a:pt x="2" y="168"/>
                    </a:cubicBezTo>
                    <a:cubicBezTo>
                      <a:pt x="2" y="168"/>
                      <a:pt x="2" y="168"/>
                      <a:pt x="2" y="168"/>
                    </a:cubicBezTo>
                    <a:cubicBezTo>
                      <a:pt x="4" y="144"/>
                      <a:pt x="13" y="131"/>
                      <a:pt x="22" y="116"/>
                    </a:cubicBezTo>
                    <a:cubicBezTo>
                      <a:pt x="22" y="116"/>
                      <a:pt x="22" y="116"/>
                      <a:pt x="22" y="116"/>
                    </a:cubicBezTo>
                    <a:cubicBezTo>
                      <a:pt x="32" y="101"/>
                      <a:pt x="43" y="87"/>
                      <a:pt x="56" y="74"/>
                    </a:cubicBezTo>
                    <a:cubicBezTo>
                      <a:pt x="56" y="74"/>
                      <a:pt x="56" y="74"/>
                      <a:pt x="56" y="74"/>
                    </a:cubicBezTo>
                    <a:cubicBezTo>
                      <a:pt x="82" y="46"/>
                      <a:pt x="108" y="23"/>
                      <a:pt x="137" y="8"/>
                    </a:cubicBezTo>
                    <a:cubicBezTo>
                      <a:pt x="137" y="8"/>
                      <a:pt x="137" y="8"/>
                      <a:pt x="137" y="8"/>
                    </a:cubicBezTo>
                    <a:cubicBezTo>
                      <a:pt x="147" y="4"/>
                      <a:pt x="157" y="0"/>
                      <a:pt x="175" y="1"/>
                    </a:cubicBezTo>
                    <a:cubicBezTo>
                      <a:pt x="175" y="1"/>
                      <a:pt x="175" y="1"/>
                      <a:pt x="175" y="1"/>
                    </a:cubicBezTo>
                    <a:cubicBezTo>
                      <a:pt x="185" y="2"/>
                      <a:pt x="199" y="6"/>
                      <a:pt x="209" y="16"/>
                    </a:cubicBezTo>
                    <a:cubicBezTo>
                      <a:pt x="209" y="16"/>
                      <a:pt x="209" y="16"/>
                      <a:pt x="209" y="16"/>
                    </a:cubicBezTo>
                    <a:cubicBezTo>
                      <a:pt x="218" y="25"/>
                      <a:pt x="556" y="335"/>
                      <a:pt x="573" y="351"/>
                    </a:cubicBezTo>
                    <a:cubicBezTo>
                      <a:pt x="573" y="351"/>
                      <a:pt x="573" y="351"/>
                      <a:pt x="573" y="351"/>
                    </a:cubicBezTo>
                    <a:cubicBezTo>
                      <a:pt x="573" y="351"/>
                      <a:pt x="573" y="351"/>
                      <a:pt x="573" y="351"/>
                    </a:cubicBezTo>
                    <a:cubicBezTo>
                      <a:pt x="589" y="367"/>
                      <a:pt x="590" y="386"/>
                      <a:pt x="589" y="394"/>
                    </a:cubicBezTo>
                    <a:cubicBezTo>
                      <a:pt x="589" y="394"/>
                      <a:pt x="589" y="394"/>
                      <a:pt x="589" y="394"/>
                    </a:cubicBezTo>
                    <a:cubicBezTo>
                      <a:pt x="587" y="409"/>
                      <a:pt x="583" y="414"/>
                      <a:pt x="581" y="420"/>
                    </a:cubicBezTo>
                    <a:cubicBezTo>
                      <a:pt x="581" y="420"/>
                      <a:pt x="581" y="420"/>
                      <a:pt x="581" y="420"/>
                    </a:cubicBezTo>
                    <a:cubicBezTo>
                      <a:pt x="578" y="425"/>
                      <a:pt x="575" y="430"/>
                      <a:pt x="571" y="435"/>
                    </a:cubicBezTo>
                    <a:cubicBezTo>
                      <a:pt x="571" y="435"/>
                      <a:pt x="571" y="435"/>
                      <a:pt x="571" y="435"/>
                    </a:cubicBezTo>
                    <a:cubicBezTo>
                      <a:pt x="564" y="445"/>
                      <a:pt x="556" y="455"/>
                      <a:pt x="547" y="466"/>
                    </a:cubicBezTo>
                    <a:cubicBezTo>
                      <a:pt x="547" y="466"/>
                      <a:pt x="547" y="466"/>
                      <a:pt x="547" y="466"/>
                    </a:cubicBezTo>
                    <a:cubicBezTo>
                      <a:pt x="528" y="488"/>
                      <a:pt x="506" y="512"/>
                      <a:pt x="485" y="531"/>
                    </a:cubicBezTo>
                    <a:cubicBezTo>
                      <a:pt x="485" y="531"/>
                      <a:pt x="485" y="531"/>
                      <a:pt x="485" y="531"/>
                    </a:cubicBezTo>
                    <a:cubicBezTo>
                      <a:pt x="471" y="543"/>
                      <a:pt x="461" y="553"/>
                      <a:pt x="442" y="562"/>
                    </a:cubicBezTo>
                    <a:cubicBezTo>
                      <a:pt x="442" y="562"/>
                      <a:pt x="442" y="562"/>
                      <a:pt x="442" y="562"/>
                    </a:cubicBezTo>
                    <a:cubicBezTo>
                      <a:pt x="436" y="564"/>
                      <a:pt x="429" y="567"/>
                      <a:pt x="414" y="566"/>
                    </a:cubicBezTo>
                    <a:cubicBezTo>
                      <a:pt x="414" y="566"/>
                      <a:pt x="414" y="566"/>
                      <a:pt x="414" y="566"/>
                    </a:cubicBezTo>
                    <a:cubicBezTo>
                      <a:pt x="414" y="566"/>
                      <a:pt x="414" y="566"/>
                      <a:pt x="414" y="566"/>
                    </a:cubicBezTo>
                    <a:cubicBezTo>
                      <a:pt x="414" y="566"/>
                      <a:pt x="414" y="566"/>
                      <a:pt x="414" y="566"/>
                    </a:cubicBezTo>
                    <a:cubicBezTo>
                      <a:pt x="406" y="566"/>
                      <a:pt x="394" y="562"/>
                      <a:pt x="383" y="553"/>
                    </a:cubicBezTo>
                    <a:close/>
                    <a:moveTo>
                      <a:pt x="422" y="454"/>
                    </a:moveTo>
                    <a:cubicBezTo>
                      <a:pt x="423" y="453"/>
                      <a:pt x="424" y="453"/>
                      <a:pt x="425" y="452"/>
                    </a:cubicBezTo>
                    <a:cubicBezTo>
                      <a:pt x="425" y="452"/>
                      <a:pt x="425" y="452"/>
                      <a:pt x="425" y="452"/>
                    </a:cubicBezTo>
                    <a:cubicBezTo>
                      <a:pt x="441" y="436"/>
                      <a:pt x="461" y="415"/>
                      <a:pt x="476" y="397"/>
                    </a:cubicBezTo>
                    <a:cubicBezTo>
                      <a:pt x="476" y="397"/>
                      <a:pt x="476" y="397"/>
                      <a:pt x="476" y="397"/>
                    </a:cubicBezTo>
                    <a:cubicBezTo>
                      <a:pt x="476" y="397"/>
                      <a:pt x="476" y="397"/>
                      <a:pt x="476" y="396"/>
                    </a:cubicBezTo>
                    <a:cubicBezTo>
                      <a:pt x="476" y="396"/>
                      <a:pt x="476" y="396"/>
                      <a:pt x="476" y="396"/>
                    </a:cubicBezTo>
                    <a:cubicBezTo>
                      <a:pt x="388" y="313"/>
                      <a:pt x="241" y="181"/>
                      <a:pt x="163" y="108"/>
                    </a:cubicBezTo>
                    <a:cubicBezTo>
                      <a:pt x="163" y="108"/>
                      <a:pt x="163" y="108"/>
                      <a:pt x="163" y="108"/>
                    </a:cubicBezTo>
                    <a:cubicBezTo>
                      <a:pt x="161" y="110"/>
                      <a:pt x="159" y="112"/>
                      <a:pt x="157" y="113"/>
                    </a:cubicBezTo>
                    <a:cubicBezTo>
                      <a:pt x="157" y="113"/>
                      <a:pt x="157" y="113"/>
                      <a:pt x="157" y="113"/>
                    </a:cubicBezTo>
                    <a:cubicBezTo>
                      <a:pt x="142" y="126"/>
                      <a:pt x="124" y="145"/>
                      <a:pt x="112" y="160"/>
                    </a:cubicBezTo>
                    <a:cubicBezTo>
                      <a:pt x="112" y="160"/>
                      <a:pt x="112" y="160"/>
                      <a:pt x="112" y="160"/>
                    </a:cubicBezTo>
                    <a:cubicBezTo>
                      <a:pt x="110" y="162"/>
                      <a:pt x="109" y="164"/>
                      <a:pt x="108" y="165"/>
                    </a:cubicBezTo>
                    <a:cubicBezTo>
                      <a:pt x="108" y="165"/>
                      <a:pt x="108" y="165"/>
                      <a:pt x="108" y="165"/>
                    </a:cubicBezTo>
                    <a:cubicBezTo>
                      <a:pt x="185" y="237"/>
                      <a:pt x="335" y="373"/>
                      <a:pt x="422" y="45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bg1">
                      <a:lumMod val="50000"/>
                    </a:schemeClr>
                  </a:solidFill>
                </a:endParaRPr>
              </a:p>
            </p:txBody>
          </p:sp>
          <p:sp>
            <p:nvSpPr>
              <p:cNvPr id="10" name="Freeform 30"/>
              <p:cNvSpPr>
                <a:spLocks noEditPoints="1"/>
              </p:cNvSpPr>
              <p:nvPr/>
            </p:nvSpPr>
            <p:spPr bwMode="auto">
              <a:xfrm>
                <a:off x="-2952" y="-1157"/>
                <a:ext cx="2488" cy="2492"/>
              </a:xfrm>
              <a:custGeom>
                <a:avLst/>
                <a:gdLst>
                  <a:gd name="T0" fmla="*/ 482 w 1053"/>
                  <a:gd name="T1" fmla="*/ 1042 h 1055"/>
                  <a:gd name="T2" fmla="*/ 177 w 1053"/>
                  <a:gd name="T3" fmla="*/ 906 h 1055"/>
                  <a:gd name="T4" fmla="*/ 177 w 1053"/>
                  <a:gd name="T5" fmla="*/ 906 h 1055"/>
                  <a:gd name="T6" fmla="*/ 13 w 1053"/>
                  <a:gd name="T7" fmla="*/ 483 h 1055"/>
                  <a:gd name="T8" fmla="*/ 13 w 1053"/>
                  <a:gd name="T9" fmla="*/ 483 h 1055"/>
                  <a:gd name="T10" fmla="*/ 148 w 1053"/>
                  <a:gd name="T11" fmla="*/ 177 h 1055"/>
                  <a:gd name="T12" fmla="*/ 148 w 1053"/>
                  <a:gd name="T13" fmla="*/ 177 h 1055"/>
                  <a:gd name="T14" fmla="*/ 148 w 1053"/>
                  <a:gd name="T15" fmla="*/ 177 h 1055"/>
                  <a:gd name="T16" fmla="*/ 571 w 1053"/>
                  <a:gd name="T17" fmla="*/ 13 h 1055"/>
                  <a:gd name="T18" fmla="*/ 571 w 1053"/>
                  <a:gd name="T19" fmla="*/ 13 h 1055"/>
                  <a:gd name="T20" fmla="*/ 877 w 1053"/>
                  <a:gd name="T21" fmla="*/ 148 h 1055"/>
                  <a:gd name="T22" fmla="*/ 877 w 1053"/>
                  <a:gd name="T23" fmla="*/ 148 h 1055"/>
                  <a:gd name="T24" fmla="*/ 1040 w 1053"/>
                  <a:gd name="T25" fmla="*/ 572 h 1055"/>
                  <a:gd name="T26" fmla="*/ 1040 w 1053"/>
                  <a:gd name="T27" fmla="*/ 572 h 1055"/>
                  <a:gd name="T28" fmla="*/ 905 w 1053"/>
                  <a:gd name="T29" fmla="*/ 878 h 1055"/>
                  <a:gd name="T30" fmla="*/ 905 w 1053"/>
                  <a:gd name="T31" fmla="*/ 878 h 1055"/>
                  <a:gd name="T32" fmla="*/ 483 w 1053"/>
                  <a:gd name="T33" fmla="*/ 1042 h 1055"/>
                  <a:gd name="T34" fmla="*/ 483 w 1053"/>
                  <a:gd name="T35" fmla="*/ 1042 h 1055"/>
                  <a:gd name="T36" fmla="*/ 482 w 1053"/>
                  <a:gd name="T37" fmla="*/ 1042 h 1055"/>
                  <a:gd name="T38" fmla="*/ 221 w 1053"/>
                  <a:gd name="T39" fmla="*/ 244 h 1055"/>
                  <a:gd name="T40" fmla="*/ 221 w 1053"/>
                  <a:gd name="T41" fmla="*/ 244 h 1055"/>
                  <a:gd name="T42" fmla="*/ 112 w 1053"/>
                  <a:gd name="T43" fmla="*/ 491 h 1055"/>
                  <a:gd name="T44" fmla="*/ 112 w 1053"/>
                  <a:gd name="T45" fmla="*/ 491 h 1055"/>
                  <a:gd name="T46" fmla="*/ 244 w 1053"/>
                  <a:gd name="T47" fmla="*/ 834 h 1055"/>
                  <a:gd name="T48" fmla="*/ 244 w 1053"/>
                  <a:gd name="T49" fmla="*/ 834 h 1055"/>
                  <a:gd name="T50" fmla="*/ 491 w 1053"/>
                  <a:gd name="T51" fmla="*/ 943 h 1055"/>
                  <a:gd name="T52" fmla="*/ 491 w 1053"/>
                  <a:gd name="T53" fmla="*/ 943 h 1055"/>
                  <a:gd name="T54" fmla="*/ 833 w 1053"/>
                  <a:gd name="T55" fmla="*/ 810 h 1055"/>
                  <a:gd name="T56" fmla="*/ 833 w 1053"/>
                  <a:gd name="T57" fmla="*/ 810 h 1055"/>
                  <a:gd name="T58" fmla="*/ 942 w 1053"/>
                  <a:gd name="T59" fmla="*/ 563 h 1055"/>
                  <a:gd name="T60" fmla="*/ 942 w 1053"/>
                  <a:gd name="T61" fmla="*/ 563 h 1055"/>
                  <a:gd name="T62" fmla="*/ 810 w 1053"/>
                  <a:gd name="T63" fmla="*/ 221 h 1055"/>
                  <a:gd name="T64" fmla="*/ 810 w 1053"/>
                  <a:gd name="T65" fmla="*/ 221 h 1055"/>
                  <a:gd name="T66" fmla="*/ 563 w 1053"/>
                  <a:gd name="T67" fmla="*/ 111 h 1055"/>
                  <a:gd name="T68" fmla="*/ 563 w 1053"/>
                  <a:gd name="T69" fmla="*/ 111 h 1055"/>
                  <a:gd name="T70" fmla="*/ 221 w 1053"/>
                  <a:gd name="T71" fmla="*/ 244 h 1055"/>
                  <a:gd name="T72" fmla="*/ 221 w 1053"/>
                  <a:gd name="T73" fmla="*/ 244 h 10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53" h="1055">
                    <a:moveTo>
                      <a:pt x="482" y="1042"/>
                    </a:moveTo>
                    <a:cubicBezTo>
                      <a:pt x="372" y="1032"/>
                      <a:pt x="264" y="987"/>
                      <a:pt x="177" y="906"/>
                    </a:cubicBezTo>
                    <a:cubicBezTo>
                      <a:pt x="177" y="906"/>
                      <a:pt x="177" y="906"/>
                      <a:pt x="177" y="906"/>
                    </a:cubicBezTo>
                    <a:cubicBezTo>
                      <a:pt x="55" y="794"/>
                      <a:pt x="0" y="636"/>
                      <a:pt x="13" y="483"/>
                    </a:cubicBezTo>
                    <a:cubicBezTo>
                      <a:pt x="13" y="483"/>
                      <a:pt x="13" y="483"/>
                      <a:pt x="13" y="483"/>
                    </a:cubicBezTo>
                    <a:cubicBezTo>
                      <a:pt x="23" y="373"/>
                      <a:pt x="68" y="264"/>
                      <a:pt x="148" y="177"/>
                    </a:cubicBezTo>
                    <a:cubicBezTo>
                      <a:pt x="148" y="177"/>
                      <a:pt x="148" y="177"/>
                      <a:pt x="148" y="177"/>
                    </a:cubicBezTo>
                    <a:cubicBezTo>
                      <a:pt x="148" y="177"/>
                      <a:pt x="148" y="177"/>
                      <a:pt x="148" y="177"/>
                    </a:cubicBezTo>
                    <a:cubicBezTo>
                      <a:pt x="261" y="55"/>
                      <a:pt x="418" y="0"/>
                      <a:pt x="571" y="13"/>
                    </a:cubicBezTo>
                    <a:cubicBezTo>
                      <a:pt x="571" y="13"/>
                      <a:pt x="571" y="13"/>
                      <a:pt x="571" y="13"/>
                    </a:cubicBezTo>
                    <a:cubicBezTo>
                      <a:pt x="681" y="22"/>
                      <a:pt x="789" y="67"/>
                      <a:pt x="877" y="148"/>
                    </a:cubicBezTo>
                    <a:cubicBezTo>
                      <a:pt x="877" y="148"/>
                      <a:pt x="877" y="148"/>
                      <a:pt x="877" y="148"/>
                    </a:cubicBezTo>
                    <a:cubicBezTo>
                      <a:pt x="998" y="261"/>
                      <a:pt x="1053" y="418"/>
                      <a:pt x="1040" y="572"/>
                    </a:cubicBezTo>
                    <a:cubicBezTo>
                      <a:pt x="1040" y="572"/>
                      <a:pt x="1040" y="572"/>
                      <a:pt x="1040" y="572"/>
                    </a:cubicBezTo>
                    <a:cubicBezTo>
                      <a:pt x="1031" y="682"/>
                      <a:pt x="986" y="790"/>
                      <a:pt x="905" y="878"/>
                    </a:cubicBezTo>
                    <a:cubicBezTo>
                      <a:pt x="905" y="878"/>
                      <a:pt x="905" y="878"/>
                      <a:pt x="905" y="878"/>
                    </a:cubicBezTo>
                    <a:cubicBezTo>
                      <a:pt x="793" y="999"/>
                      <a:pt x="635" y="1055"/>
                      <a:pt x="483" y="1042"/>
                    </a:cubicBezTo>
                    <a:cubicBezTo>
                      <a:pt x="483" y="1042"/>
                      <a:pt x="483" y="1042"/>
                      <a:pt x="483" y="1042"/>
                    </a:cubicBezTo>
                    <a:cubicBezTo>
                      <a:pt x="482" y="1042"/>
                      <a:pt x="482" y="1042"/>
                      <a:pt x="482" y="1042"/>
                    </a:cubicBezTo>
                    <a:close/>
                    <a:moveTo>
                      <a:pt x="221" y="244"/>
                    </a:moveTo>
                    <a:cubicBezTo>
                      <a:pt x="221" y="244"/>
                      <a:pt x="221" y="244"/>
                      <a:pt x="221" y="244"/>
                    </a:cubicBezTo>
                    <a:cubicBezTo>
                      <a:pt x="155" y="315"/>
                      <a:pt x="119" y="402"/>
                      <a:pt x="112" y="491"/>
                    </a:cubicBezTo>
                    <a:cubicBezTo>
                      <a:pt x="112" y="491"/>
                      <a:pt x="112" y="491"/>
                      <a:pt x="112" y="491"/>
                    </a:cubicBezTo>
                    <a:cubicBezTo>
                      <a:pt x="101" y="615"/>
                      <a:pt x="145" y="743"/>
                      <a:pt x="244" y="834"/>
                    </a:cubicBezTo>
                    <a:cubicBezTo>
                      <a:pt x="244" y="834"/>
                      <a:pt x="244" y="834"/>
                      <a:pt x="244" y="834"/>
                    </a:cubicBezTo>
                    <a:cubicBezTo>
                      <a:pt x="315" y="899"/>
                      <a:pt x="402" y="935"/>
                      <a:pt x="491" y="943"/>
                    </a:cubicBezTo>
                    <a:cubicBezTo>
                      <a:pt x="491" y="943"/>
                      <a:pt x="491" y="943"/>
                      <a:pt x="491" y="943"/>
                    </a:cubicBezTo>
                    <a:cubicBezTo>
                      <a:pt x="615" y="954"/>
                      <a:pt x="742" y="909"/>
                      <a:pt x="833" y="810"/>
                    </a:cubicBezTo>
                    <a:cubicBezTo>
                      <a:pt x="833" y="810"/>
                      <a:pt x="833" y="810"/>
                      <a:pt x="833" y="810"/>
                    </a:cubicBezTo>
                    <a:cubicBezTo>
                      <a:pt x="898" y="740"/>
                      <a:pt x="934" y="652"/>
                      <a:pt x="942" y="563"/>
                    </a:cubicBezTo>
                    <a:cubicBezTo>
                      <a:pt x="942" y="563"/>
                      <a:pt x="942" y="563"/>
                      <a:pt x="942" y="563"/>
                    </a:cubicBezTo>
                    <a:cubicBezTo>
                      <a:pt x="952" y="439"/>
                      <a:pt x="908" y="312"/>
                      <a:pt x="810" y="221"/>
                    </a:cubicBezTo>
                    <a:cubicBezTo>
                      <a:pt x="810" y="221"/>
                      <a:pt x="810" y="221"/>
                      <a:pt x="810" y="221"/>
                    </a:cubicBezTo>
                    <a:cubicBezTo>
                      <a:pt x="739" y="155"/>
                      <a:pt x="652" y="119"/>
                      <a:pt x="563" y="111"/>
                    </a:cubicBezTo>
                    <a:cubicBezTo>
                      <a:pt x="563" y="111"/>
                      <a:pt x="563" y="111"/>
                      <a:pt x="563" y="111"/>
                    </a:cubicBezTo>
                    <a:cubicBezTo>
                      <a:pt x="439" y="101"/>
                      <a:pt x="312" y="145"/>
                      <a:pt x="221" y="244"/>
                    </a:cubicBezTo>
                    <a:cubicBezTo>
                      <a:pt x="221" y="244"/>
                      <a:pt x="221" y="244"/>
                      <a:pt x="221" y="244"/>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bg1">
                      <a:lumMod val="50000"/>
                    </a:schemeClr>
                  </a:solidFill>
                </a:endParaRPr>
              </a:p>
            </p:txBody>
          </p:sp>
        </p:grpSp>
      </p:grpSp>
      <p:grpSp>
        <p:nvGrpSpPr>
          <p:cNvPr id="14" name="组合 13"/>
          <p:cNvGrpSpPr/>
          <p:nvPr/>
        </p:nvGrpSpPr>
        <p:grpSpPr>
          <a:xfrm>
            <a:off x="4080717" y="1275606"/>
            <a:ext cx="1637027" cy="1522214"/>
            <a:chOff x="4080716" y="1301564"/>
            <a:chExt cx="1637027" cy="1522214"/>
          </a:xfrm>
        </p:grpSpPr>
        <p:sp>
          <p:nvSpPr>
            <p:cNvPr id="15" name="椭圆 14"/>
            <p:cNvSpPr/>
            <p:nvPr/>
          </p:nvSpPr>
          <p:spPr>
            <a:xfrm>
              <a:off x="4080716" y="2607754"/>
              <a:ext cx="216024" cy="216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6" name="任意多边形 15"/>
            <p:cNvSpPr/>
            <p:nvPr/>
          </p:nvSpPr>
          <p:spPr>
            <a:xfrm>
              <a:off x="4198814" y="1625600"/>
              <a:ext cx="870857" cy="986971"/>
            </a:xfrm>
            <a:custGeom>
              <a:avLst/>
              <a:gdLst>
                <a:gd name="connsiteX0" fmla="*/ 0 w 870857"/>
                <a:gd name="connsiteY0" fmla="*/ 986971 h 986971"/>
                <a:gd name="connsiteX1" fmla="*/ 0 w 870857"/>
                <a:gd name="connsiteY1" fmla="*/ 0 h 986971"/>
                <a:gd name="connsiteX2" fmla="*/ 870857 w 870857"/>
                <a:gd name="connsiteY2" fmla="*/ 0 h 986971"/>
              </a:gdLst>
              <a:ahLst/>
              <a:cxnLst>
                <a:cxn ang="0">
                  <a:pos x="connsiteX0" y="connsiteY0"/>
                </a:cxn>
                <a:cxn ang="0">
                  <a:pos x="connsiteX1" y="connsiteY1"/>
                </a:cxn>
                <a:cxn ang="0">
                  <a:pos x="connsiteX2" y="connsiteY2"/>
                </a:cxn>
              </a:cxnLst>
              <a:rect l="l" t="t" r="r" b="b"/>
              <a:pathLst>
                <a:path w="870857" h="986971">
                  <a:moveTo>
                    <a:pt x="0" y="986971"/>
                  </a:moveTo>
                  <a:lnTo>
                    <a:pt x="0" y="0"/>
                  </a:lnTo>
                  <a:lnTo>
                    <a:pt x="870857" y="0"/>
                  </a:lnTo>
                </a:path>
              </a:pathLst>
            </a:cu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bg1">
                    <a:lumMod val="50000"/>
                  </a:schemeClr>
                </a:solidFill>
              </a:endParaRPr>
            </a:p>
          </p:txBody>
        </p:sp>
        <p:sp>
          <p:nvSpPr>
            <p:cNvPr id="17" name="椭圆 16"/>
            <p:cNvSpPr/>
            <p:nvPr/>
          </p:nvSpPr>
          <p:spPr>
            <a:xfrm>
              <a:off x="5069671" y="1301564"/>
              <a:ext cx="648072" cy="648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18" name="Freeform 56"/>
            <p:cNvSpPr/>
            <p:nvPr/>
          </p:nvSpPr>
          <p:spPr bwMode="auto">
            <a:xfrm>
              <a:off x="5253388" y="1484675"/>
              <a:ext cx="214819" cy="281850"/>
            </a:xfrm>
            <a:custGeom>
              <a:avLst/>
              <a:gdLst>
                <a:gd name="T0" fmla="*/ 218 w 225"/>
                <a:gd name="T1" fmla="*/ 259 h 295"/>
                <a:gd name="T2" fmla="*/ 149 w 225"/>
                <a:gd name="T3" fmla="*/ 136 h 295"/>
                <a:gd name="T4" fmla="*/ 185 w 225"/>
                <a:gd name="T5" fmla="*/ 74 h 295"/>
                <a:gd name="T6" fmla="*/ 112 w 225"/>
                <a:gd name="T7" fmla="*/ 1 h 295"/>
                <a:gd name="T8" fmla="*/ 39 w 225"/>
                <a:gd name="T9" fmla="*/ 73 h 295"/>
                <a:gd name="T10" fmla="*/ 74 w 225"/>
                <a:gd name="T11" fmla="*/ 136 h 295"/>
                <a:gd name="T12" fmla="*/ 5 w 225"/>
                <a:gd name="T13" fmla="*/ 259 h 295"/>
                <a:gd name="T14" fmla="*/ 111 w 225"/>
                <a:gd name="T15" fmla="*/ 295 h 295"/>
                <a:gd name="T16" fmla="*/ 111 w 225"/>
                <a:gd name="T17" fmla="*/ 295 h 295"/>
                <a:gd name="T18" fmla="*/ 218 w 225"/>
                <a:gd name="T19" fmla="*/ 25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5" h="295">
                  <a:moveTo>
                    <a:pt x="218" y="259"/>
                  </a:moveTo>
                  <a:cubicBezTo>
                    <a:pt x="225" y="175"/>
                    <a:pt x="169" y="145"/>
                    <a:pt x="149" y="136"/>
                  </a:cubicBezTo>
                  <a:cubicBezTo>
                    <a:pt x="170" y="123"/>
                    <a:pt x="185" y="100"/>
                    <a:pt x="185" y="74"/>
                  </a:cubicBezTo>
                  <a:cubicBezTo>
                    <a:pt x="185" y="33"/>
                    <a:pt x="152" y="1"/>
                    <a:pt x="112" y="1"/>
                  </a:cubicBezTo>
                  <a:cubicBezTo>
                    <a:pt x="72" y="0"/>
                    <a:pt x="39" y="33"/>
                    <a:pt x="39" y="73"/>
                  </a:cubicBezTo>
                  <a:cubicBezTo>
                    <a:pt x="39" y="100"/>
                    <a:pt x="53" y="123"/>
                    <a:pt x="74" y="136"/>
                  </a:cubicBezTo>
                  <a:cubicBezTo>
                    <a:pt x="54" y="145"/>
                    <a:pt x="0" y="176"/>
                    <a:pt x="5" y="259"/>
                  </a:cubicBezTo>
                  <a:cubicBezTo>
                    <a:pt x="5" y="259"/>
                    <a:pt x="2" y="293"/>
                    <a:pt x="111" y="295"/>
                  </a:cubicBezTo>
                  <a:cubicBezTo>
                    <a:pt x="111" y="295"/>
                    <a:pt x="111" y="295"/>
                    <a:pt x="111" y="295"/>
                  </a:cubicBezTo>
                  <a:cubicBezTo>
                    <a:pt x="220" y="294"/>
                    <a:pt x="218" y="259"/>
                    <a:pt x="218" y="259"/>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bg1">
                    <a:lumMod val="50000"/>
                  </a:schemeClr>
                </a:solidFill>
              </a:endParaRPr>
            </a:p>
          </p:txBody>
        </p:sp>
        <p:sp>
          <p:nvSpPr>
            <p:cNvPr id="19" name="Freeform 57"/>
            <p:cNvSpPr>
              <a:spLocks noEditPoints="1"/>
            </p:cNvSpPr>
            <p:nvPr/>
          </p:nvSpPr>
          <p:spPr bwMode="auto">
            <a:xfrm>
              <a:off x="5412887" y="1492347"/>
              <a:ext cx="121139" cy="247123"/>
            </a:xfrm>
            <a:custGeom>
              <a:avLst/>
              <a:gdLst>
                <a:gd name="T0" fmla="*/ 59 w 127"/>
                <a:gd name="T1" fmla="*/ 259 h 259"/>
                <a:gd name="T2" fmla="*/ 59 w 127"/>
                <a:gd name="T3" fmla="*/ 259 h 259"/>
                <a:gd name="T4" fmla="*/ 59 w 127"/>
                <a:gd name="T5" fmla="*/ 259 h 259"/>
                <a:gd name="T6" fmla="*/ 59 w 127"/>
                <a:gd name="T7" fmla="*/ 259 h 259"/>
                <a:gd name="T8" fmla="*/ 59 w 127"/>
                <a:gd name="T9" fmla="*/ 259 h 259"/>
                <a:gd name="T10" fmla="*/ 58 w 127"/>
                <a:gd name="T11" fmla="*/ 247 h 259"/>
                <a:gd name="T12" fmla="*/ 106 w 127"/>
                <a:gd name="T13" fmla="*/ 235 h 259"/>
                <a:gd name="T14" fmla="*/ 106 w 127"/>
                <a:gd name="T15" fmla="*/ 235 h 259"/>
                <a:gd name="T16" fmla="*/ 115 w 127"/>
                <a:gd name="T17" fmla="*/ 225 h 259"/>
                <a:gd name="T18" fmla="*/ 115 w 127"/>
                <a:gd name="T19" fmla="*/ 225 h 259"/>
                <a:gd name="T20" fmla="*/ 115 w 127"/>
                <a:gd name="T21" fmla="*/ 225 h 259"/>
                <a:gd name="T22" fmla="*/ 115 w 127"/>
                <a:gd name="T23" fmla="*/ 225 h 259"/>
                <a:gd name="T24" fmla="*/ 115 w 127"/>
                <a:gd name="T25" fmla="*/ 224 h 259"/>
                <a:gd name="T26" fmla="*/ 115 w 127"/>
                <a:gd name="T27" fmla="*/ 224 h 259"/>
                <a:gd name="T28" fmla="*/ 115 w 127"/>
                <a:gd name="T29" fmla="*/ 213 h 259"/>
                <a:gd name="T30" fmla="*/ 115 w 127"/>
                <a:gd name="T31" fmla="*/ 213 h 259"/>
                <a:gd name="T32" fmla="*/ 60 w 127"/>
                <a:gd name="T33" fmla="*/ 126 h 259"/>
                <a:gd name="T34" fmla="*/ 60 w 127"/>
                <a:gd name="T35" fmla="*/ 126 h 259"/>
                <a:gd name="T36" fmla="*/ 49 w 127"/>
                <a:gd name="T37" fmla="*/ 121 h 259"/>
                <a:gd name="T38" fmla="*/ 59 w 127"/>
                <a:gd name="T39" fmla="*/ 115 h 259"/>
                <a:gd name="T40" fmla="*/ 86 w 127"/>
                <a:gd name="T41" fmla="*/ 68 h 259"/>
                <a:gd name="T42" fmla="*/ 86 w 127"/>
                <a:gd name="T43" fmla="*/ 68 h 259"/>
                <a:gd name="T44" fmla="*/ 86 w 127"/>
                <a:gd name="T45" fmla="*/ 68 h 259"/>
                <a:gd name="T46" fmla="*/ 86 w 127"/>
                <a:gd name="T47" fmla="*/ 68 h 259"/>
                <a:gd name="T48" fmla="*/ 31 w 127"/>
                <a:gd name="T49" fmla="*/ 12 h 259"/>
                <a:gd name="T50" fmla="*/ 31 w 127"/>
                <a:gd name="T51" fmla="*/ 12 h 259"/>
                <a:gd name="T52" fmla="*/ 6 w 127"/>
                <a:gd name="T53" fmla="*/ 18 h 259"/>
                <a:gd name="T54" fmla="*/ 6 w 127"/>
                <a:gd name="T55" fmla="*/ 18 h 259"/>
                <a:gd name="T56" fmla="*/ 0 w 127"/>
                <a:gd name="T57" fmla="*/ 8 h 259"/>
                <a:gd name="T58" fmla="*/ 31 w 127"/>
                <a:gd name="T59" fmla="*/ 0 h 259"/>
                <a:gd name="T60" fmla="*/ 31 w 127"/>
                <a:gd name="T61" fmla="*/ 0 h 259"/>
                <a:gd name="T62" fmla="*/ 31 w 127"/>
                <a:gd name="T63" fmla="*/ 0 h 259"/>
                <a:gd name="T64" fmla="*/ 31 w 127"/>
                <a:gd name="T65" fmla="*/ 0 h 259"/>
                <a:gd name="T66" fmla="*/ 98 w 127"/>
                <a:gd name="T67" fmla="*/ 68 h 259"/>
                <a:gd name="T68" fmla="*/ 98 w 127"/>
                <a:gd name="T69" fmla="*/ 68 h 259"/>
                <a:gd name="T70" fmla="*/ 98 w 127"/>
                <a:gd name="T71" fmla="*/ 68 h 259"/>
                <a:gd name="T72" fmla="*/ 98 w 127"/>
                <a:gd name="T73" fmla="*/ 68 h 259"/>
                <a:gd name="T74" fmla="*/ 74 w 127"/>
                <a:gd name="T75" fmla="*/ 120 h 259"/>
                <a:gd name="T76" fmla="*/ 74 w 127"/>
                <a:gd name="T77" fmla="*/ 120 h 259"/>
                <a:gd name="T78" fmla="*/ 127 w 127"/>
                <a:gd name="T79" fmla="*/ 213 h 259"/>
                <a:gd name="T80" fmla="*/ 127 w 127"/>
                <a:gd name="T81" fmla="*/ 213 h 259"/>
                <a:gd name="T82" fmla="*/ 127 w 127"/>
                <a:gd name="T83" fmla="*/ 225 h 259"/>
                <a:gd name="T84" fmla="*/ 127 w 127"/>
                <a:gd name="T85" fmla="*/ 225 h 259"/>
                <a:gd name="T86" fmla="*/ 116 w 127"/>
                <a:gd name="T87" fmla="*/ 242 h 259"/>
                <a:gd name="T88" fmla="*/ 116 w 127"/>
                <a:gd name="T89" fmla="*/ 242 h 259"/>
                <a:gd name="T90" fmla="*/ 59 w 127"/>
                <a:gd name="T91" fmla="*/ 259 h 259"/>
                <a:gd name="T92" fmla="*/ 59 w 127"/>
                <a:gd name="T93" fmla="*/ 259 h 259"/>
                <a:gd name="T94" fmla="*/ 58 w 127"/>
                <a:gd name="T95"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 h="259">
                  <a:moveTo>
                    <a:pt x="59" y="259"/>
                  </a:moveTo>
                  <a:cubicBezTo>
                    <a:pt x="59" y="259"/>
                    <a:pt x="59" y="259"/>
                    <a:pt x="59" y="259"/>
                  </a:cubicBezTo>
                  <a:cubicBezTo>
                    <a:pt x="59" y="259"/>
                    <a:pt x="59" y="259"/>
                    <a:pt x="59" y="259"/>
                  </a:cubicBezTo>
                  <a:cubicBezTo>
                    <a:pt x="59" y="259"/>
                    <a:pt x="59" y="259"/>
                    <a:pt x="59" y="259"/>
                  </a:cubicBezTo>
                  <a:cubicBezTo>
                    <a:pt x="59" y="259"/>
                    <a:pt x="59" y="259"/>
                    <a:pt x="59" y="259"/>
                  </a:cubicBezTo>
                  <a:close/>
                  <a:moveTo>
                    <a:pt x="58" y="247"/>
                  </a:moveTo>
                  <a:cubicBezTo>
                    <a:pt x="84" y="245"/>
                    <a:pt x="98" y="240"/>
                    <a:pt x="106" y="235"/>
                  </a:cubicBezTo>
                  <a:cubicBezTo>
                    <a:pt x="106" y="235"/>
                    <a:pt x="106" y="235"/>
                    <a:pt x="106" y="235"/>
                  </a:cubicBezTo>
                  <a:cubicBezTo>
                    <a:pt x="113" y="230"/>
                    <a:pt x="114" y="226"/>
                    <a:pt x="115" y="225"/>
                  </a:cubicBezTo>
                  <a:cubicBezTo>
                    <a:pt x="115" y="225"/>
                    <a:pt x="115" y="225"/>
                    <a:pt x="115" y="225"/>
                  </a:cubicBezTo>
                  <a:cubicBezTo>
                    <a:pt x="115" y="225"/>
                    <a:pt x="115" y="225"/>
                    <a:pt x="115" y="225"/>
                  </a:cubicBezTo>
                  <a:cubicBezTo>
                    <a:pt x="115" y="225"/>
                    <a:pt x="115" y="225"/>
                    <a:pt x="115" y="225"/>
                  </a:cubicBezTo>
                  <a:cubicBezTo>
                    <a:pt x="115" y="224"/>
                    <a:pt x="115" y="224"/>
                    <a:pt x="115" y="224"/>
                  </a:cubicBezTo>
                  <a:cubicBezTo>
                    <a:pt x="115" y="224"/>
                    <a:pt x="115" y="224"/>
                    <a:pt x="115" y="224"/>
                  </a:cubicBezTo>
                  <a:cubicBezTo>
                    <a:pt x="115" y="220"/>
                    <a:pt x="115" y="216"/>
                    <a:pt x="115" y="213"/>
                  </a:cubicBezTo>
                  <a:cubicBezTo>
                    <a:pt x="115" y="213"/>
                    <a:pt x="115" y="213"/>
                    <a:pt x="115" y="213"/>
                  </a:cubicBezTo>
                  <a:cubicBezTo>
                    <a:pt x="115" y="154"/>
                    <a:pt x="75" y="133"/>
                    <a:pt x="60" y="126"/>
                  </a:cubicBezTo>
                  <a:cubicBezTo>
                    <a:pt x="60" y="126"/>
                    <a:pt x="60" y="126"/>
                    <a:pt x="60" y="126"/>
                  </a:cubicBezTo>
                  <a:cubicBezTo>
                    <a:pt x="49" y="121"/>
                    <a:pt x="49" y="121"/>
                    <a:pt x="49" y="121"/>
                  </a:cubicBezTo>
                  <a:cubicBezTo>
                    <a:pt x="59" y="115"/>
                    <a:pt x="59" y="115"/>
                    <a:pt x="59" y="115"/>
                  </a:cubicBezTo>
                  <a:cubicBezTo>
                    <a:pt x="75" y="106"/>
                    <a:pt x="86" y="88"/>
                    <a:pt x="86" y="68"/>
                  </a:cubicBezTo>
                  <a:cubicBezTo>
                    <a:pt x="86" y="68"/>
                    <a:pt x="86" y="68"/>
                    <a:pt x="86" y="68"/>
                  </a:cubicBezTo>
                  <a:cubicBezTo>
                    <a:pt x="86" y="68"/>
                    <a:pt x="86" y="68"/>
                    <a:pt x="86" y="68"/>
                  </a:cubicBezTo>
                  <a:cubicBezTo>
                    <a:pt x="86" y="68"/>
                    <a:pt x="86" y="68"/>
                    <a:pt x="86" y="68"/>
                  </a:cubicBezTo>
                  <a:cubicBezTo>
                    <a:pt x="86" y="37"/>
                    <a:pt x="62" y="12"/>
                    <a:pt x="31" y="12"/>
                  </a:cubicBezTo>
                  <a:cubicBezTo>
                    <a:pt x="31" y="12"/>
                    <a:pt x="31" y="12"/>
                    <a:pt x="31" y="12"/>
                  </a:cubicBezTo>
                  <a:cubicBezTo>
                    <a:pt x="22" y="12"/>
                    <a:pt x="13" y="14"/>
                    <a:pt x="6" y="18"/>
                  </a:cubicBezTo>
                  <a:cubicBezTo>
                    <a:pt x="6" y="18"/>
                    <a:pt x="6" y="18"/>
                    <a:pt x="6" y="18"/>
                  </a:cubicBezTo>
                  <a:cubicBezTo>
                    <a:pt x="0" y="8"/>
                    <a:pt x="0" y="8"/>
                    <a:pt x="0" y="8"/>
                  </a:cubicBezTo>
                  <a:cubicBezTo>
                    <a:pt x="9" y="3"/>
                    <a:pt x="20" y="0"/>
                    <a:pt x="31" y="0"/>
                  </a:cubicBezTo>
                  <a:cubicBezTo>
                    <a:pt x="31" y="0"/>
                    <a:pt x="31" y="0"/>
                    <a:pt x="31" y="0"/>
                  </a:cubicBezTo>
                  <a:cubicBezTo>
                    <a:pt x="31" y="0"/>
                    <a:pt x="31" y="0"/>
                    <a:pt x="31" y="0"/>
                  </a:cubicBezTo>
                  <a:cubicBezTo>
                    <a:pt x="31" y="0"/>
                    <a:pt x="31" y="0"/>
                    <a:pt x="31" y="0"/>
                  </a:cubicBezTo>
                  <a:cubicBezTo>
                    <a:pt x="68" y="0"/>
                    <a:pt x="98" y="30"/>
                    <a:pt x="98" y="68"/>
                  </a:cubicBezTo>
                  <a:cubicBezTo>
                    <a:pt x="98" y="68"/>
                    <a:pt x="98" y="68"/>
                    <a:pt x="98" y="68"/>
                  </a:cubicBezTo>
                  <a:cubicBezTo>
                    <a:pt x="98" y="68"/>
                    <a:pt x="98" y="68"/>
                    <a:pt x="98" y="68"/>
                  </a:cubicBezTo>
                  <a:cubicBezTo>
                    <a:pt x="98" y="68"/>
                    <a:pt x="98" y="68"/>
                    <a:pt x="98" y="68"/>
                  </a:cubicBezTo>
                  <a:cubicBezTo>
                    <a:pt x="98" y="89"/>
                    <a:pt x="89" y="107"/>
                    <a:pt x="74" y="120"/>
                  </a:cubicBezTo>
                  <a:cubicBezTo>
                    <a:pt x="74" y="120"/>
                    <a:pt x="74" y="120"/>
                    <a:pt x="74" y="120"/>
                  </a:cubicBezTo>
                  <a:cubicBezTo>
                    <a:pt x="94" y="131"/>
                    <a:pt x="127" y="157"/>
                    <a:pt x="127" y="213"/>
                  </a:cubicBezTo>
                  <a:cubicBezTo>
                    <a:pt x="127" y="213"/>
                    <a:pt x="127" y="213"/>
                    <a:pt x="127" y="213"/>
                  </a:cubicBezTo>
                  <a:cubicBezTo>
                    <a:pt x="127" y="217"/>
                    <a:pt x="127" y="221"/>
                    <a:pt x="127" y="225"/>
                  </a:cubicBezTo>
                  <a:cubicBezTo>
                    <a:pt x="127" y="225"/>
                    <a:pt x="127" y="225"/>
                    <a:pt x="127" y="225"/>
                  </a:cubicBezTo>
                  <a:cubicBezTo>
                    <a:pt x="127" y="227"/>
                    <a:pt x="125" y="235"/>
                    <a:pt x="116" y="242"/>
                  </a:cubicBezTo>
                  <a:cubicBezTo>
                    <a:pt x="116" y="242"/>
                    <a:pt x="116" y="242"/>
                    <a:pt x="116" y="242"/>
                  </a:cubicBezTo>
                  <a:cubicBezTo>
                    <a:pt x="107" y="249"/>
                    <a:pt x="90" y="256"/>
                    <a:pt x="59" y="259"/>
                  </a:cubicBezTo>
                  <a:cubicBezTo>
                    <a:pt x="59" y="259"/>
                    <a:pt x="59" y="259"/>
                    <a:pt x="59" y="259"/>
                  </a:cubicBezTo>
                  <a:cubicBezTo>
                    <a:pt x="58" y="247"/>
                    <a:pt x="58" y="247"/>
                    <a:pt x="58" y="24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68580" tIns="34290" rIns="68580" bIns="34290" numCol="1" anchor="t" anchorCtr="0" compatLnSpc="1"/>
            <a:lstStyle/>
            <a:p>
              <a:endParaRPr lang="zh-CN" altLang="en-US" sz="1350">
                <a:solidFill>
                  <a:schemeClr val="bg1">
                    <a:lumMod val="50000"/>
                  </a:schemeClr>
                </a:solidFill>
              </a:endParaRPr>
            </a:p>
          </p:txBody>
        </p:sp>
      </p:grpSp>
      <p:grpSp>
        <p:nvGrpSpPr>
          <p:cNvPr id="20" name="组合 19"/>
          <p:cNvGrpSpPr/>
          <p:nvPr/>
        </p:nvGrpSpPr>
        <p:grpSpPr>
          <a:xfrm>
            <a:off x="2562163" y="2600330"/>
            <a:ext cx="1637027" cy="1522214"/>
            <a:chOff x="2562162" y="2626288"/>
            <a:chExt cx="1637027" cy="1522214"/>
          </a:xfrm>
        </p:grpSpPr>
        <p:sp>
          <p:nvSpPr>
            <p:cNvPr id="21" name="椭圆 20"/>
            <p:cNvSpPr/>
            <p:nvPr/>
          </p:nvSpPr>
          <p:spPr>
            <a:xfrm flipV="1">
              <a:off x="2562162" y="2626288"/>
              <a:ext cx="216024" cy="216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22" name="任意多边形 21"/>
            <p:cNvSpPr/>
            <p:nvPr/>
          </p:nvSpPr>
          <p:spPr>
            <a:xfrm flipV="1">
              <a:off x="2680260" y="2837495"/>
              <a:ext cx="870857" cy="986971"/>
            </a:xfrm>
            <a:custGeom>
              <a:avLst/>
              <a:gdLst>
                <a:gd name="connsiteX0" fmla="*/ 0 w 870857"/>
                <a:gd name="connsiteY0" fmla="*/ 986971 h 986971"/>
                <a:gd name="connsiteX1" fmla="*/ 0 w 870857"/>
                <a:gd name="connsiteY1" fmla="*/ 0 h 986971"/>
                <a:gd name="connsiteX2" fmla="*/ 870857 w 870857"/>
                <a:gd name="connsiteY2" fmla="*/ 0 h 986971"/>
              </a:gdLst>
              <a:ahLst/>
              <a:cxnLst>
                <a:cxn ang="0">
                  <a:pos x="connsiteX0" y="connsiteY0"/>
                </a:cxn>
                <a:cxn ang="0">
                  <a:pos x="connsiteX1" y="connsiteY1"/>
                </a:cxn>
                <a:cxn ang="0">
                  <a:pos x="connsiteX2" y="connsiteY2"/>
                </a:cxn>
              </a:cxnLst>
              <a:rect l="l" t="t" r="r" b="b"/>
              <a:pathLst>
                <a:path w="870857" h="986971">
                  <a:moveTo>
                    <a:pt x="0" y="986971"/>
                  </a:moveTo>
                  <a:lnTo>
                    <a:pt x="0" y="0"/>
                  </a:lnTo>
                  <a:lnTo>
                    <a:pt x="870857" y="0"/>
                  </a:lnTo>
                </a:path>
              </a:pathLst>
            </a:cu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bg1">
                    <a:lumMod val="50000"/>
                  </a:schemeClr>
                </a:solidFill>
              </a:endParaRPr>
            </a:p>
          </p:txBody>
        </p:sp>
        <p:grpSp>
          <p:nvGrpSpPr>
            <p:cNvPr id="23" name="组合 22"/>
            <p:cNvGrpSpPr/>
            <p:nvPr/>
          </p:nvGrpSpPr>
          <p:grpSpPr>
            <a:xfrm>
              <a:off x="3551117" y="3500430"/>
              <a:ext cx="648072" cy="648072"/>
              <a:chOff x="3551117" y="3500430"/>
              <a:chExt cx="648072" cy="648072"/>
            </a:xfrm>
          </p:grpSpPr>
          <p:sp>
            <p:nvSpPr>
              <p:cNvPr id="24" name="椭圆 23"/>
              <p:cNvSpPr/>
              <p:nvPr/>
            </p:nvSpPr>
            <p:spPr>
              <a:xfrm flipV="1">
                <a:off x="3551117" y="3500430"/>
                <a:ext cx="648072" cy="648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25" name="Freeform 34"/>
              <p:cNvSpPr>
                <a:spLocks noEditPoints="1"/>
              </p:cNvSpPr>
              <p:nvPr/>
            </p:nvSpPr>
            <p:spPr bwMode="auto">
              <a:xfrm>
                <a:off x="3762184" y="3691842"/>
                <a:ext cx="225937" cy="265248"/>
              </a:xfrm>
              <a:custGeom>
                <a:avLst/>
                <a:gdLst>
                  <a:gd name="T0" fmla="*/ 379 w 498"/>
                  <a:gd name="T1" fmla="*/ 0 h 586"/>
                  <a:gd name="T2" fmla="*/ 444 w 498"/>
                  <a:gd name="T3" fmla="*/ 65 h 586"/>
                  <a:gd name="T4" fmla="*/ 416 w 498"/>
                  <a:gd name="T5" fmla="*/ 231 h 586"/>
                  <a:gd name="T6" fmla="*/ 405 w 498"/>
                  <a:gd name="T7" fmla="*/ 38 h 586"/>
                  <a:gd name="T8" fmla="*/ 125 w 498"/>
                  <a:gd name="T9" fmla="*/ 27 h 586"/>
                  <a:gd name="T10" fmla="*/ 167 w 498"/>
                  <a:gd name="T11" fmla="*/ 81 h 586"/>
                  <a:gd name="T12" fmla="*/ 27 w 498"/>
                  <a:gd name="T13" fmla="*/ 249 h 586"/>
                  <a:gd name="T14" fmla="*/ 39 w 498"/>
                  <a:gd name="T15" fmla="*/ 531 h 586"/>
                  <a:gd name="T16" fmla="*/ 148 w 498"/>
                  <a:gd name="T17" fmla="*/ 542 h 586"/>
                  <a:gd name="T18" fmla="*/ 65 w 498"/>
                  <a:gd name="T19" fmla="*/ 570 h 586"/>
                  <a:gd name="T20" fmla="*/ 0 w 498"/>
                  <a:gd name="T21" fmla="*/ 505 h 586"/>
                  <a:gd name="T22" fmla="*/ 1 w 498"/>
                  <a:gd name="T23" fmla="*/ 238 h 586"/>
                  <a:gd name="T24" fmla="*/ 76 w 498"/>
                  <a:gd name="T25" fmla="*/ 7 h 586"/>
                  <a:gd name="T26" fmla="*/ 76 w 498"/>
                  <a:gd name="T27" fmla="*/ 7 h 586"/>
                  <a:gd name="T28" fmla="*/ 76 w 498"/>
                  <a:gd name="T29" fmla="*/ 6 h 586"/>
                  <a:gd name="T30" fmla="*/ 79 w 498"/>
                  <a:gd name="T31" fmla="*/ 3 h 586"/>
                  <a:gd name="T32" fmla="*/ 79 w 498"/>
                  <a:gd name="T33" fmla="*/ 3 h 586"/>
                  <a:gd name="T34" fmla="*/ 79 w 498"/>
                  <a:gd name="T35" fmla="*/ 3 h 586"/>
                  <a:gd name="T36" fmla="*/ 80 w 498"/>
                  <a:gd name="T37" fmla="*/ 3 h 586"/>
                  <a:gd name="T38" fmla="*/ 84 w 498"/>
                  <a:gd name="T39" fmla="*/ 0 h 586"/>
                  <a:gd name="T40" fmla="*/ 84 w 498"/>
                  <a:gd name="T41" fmla="*/ 0 h 586"/>
                  <a:gd name="T42" fmla="*/ 85 w 498"/>
                  <a:gd name="T43" fmla="*/ 0 h 586"/>
                  <a:gd name="T44" fmla="*/ 85 w 498"/>
                  <a:gd name="T45" fmla="*/ 0 h 586"/>
                  <a:gd name="T46" fmla="*/ 85 w 498"/>
                  <a:gd name="T47" fmla="*/ 0 h 586"/>
                  <a:gd name="T48" fmla="*/ 86 w 498"/>
                  <a:gd name="T49" fmla="*/ 0 h 586"/>
                  <a:gd name="T50" fmla="*/ 88 w 498"/>
                  <a:gd name="T51" fmla="*/ 0 h 586"/>
                  <a:gd name="T52" fmla="*/ 82 w 498"/>
                  <a:gd name="T53" fmla="*/ 398 h 586"/>
                  <a:gd name="T54" fmla="*/ 225 w 498"/>
                  <a:gd name="T55" fmla="*/ 376 h 586"/>
                  <a:gd name="T56" fmla="*/ 82 w 498"/>
                  <a:gd name="T57" fmla="*/ 316 h 586"/>
                  <a:gd name="T58" fmla="*/ 225 w 498"/>
                  <a:gd name="T59" fmla="*/ 338 h 586"/>
                  <a:gd name="T60" fmla="*/ 82 w 498"/>
                  <a:gd name="T61" fmla="*/ 316 h 586"/>
                  <a:gd name="T62" fmla="*/ 82 w 498"/>
                  <a:gd name="T63" fmla="*/ 282 h 586"/>
                  <a:gd name="T64" fmla="*/ 369 w 498"/>
                  <a:gd name="T65" fmla="*/ 260 h 586"/>
                  <a:gd name="T66" fmla="*/ 230 w 498"/>
                  <a:gd name="T67" fmla="*/ 191 h 586"/>
                  <a:gd name="T68" fmla="*/ 369 w 498"/>
                  <a:gd name="T69" fmla="*/ 213 h 586"/>
                  <a:gd name="T70" fmla="*/ 230 w 498"/>
                  <a:gd name="T71" fmla="*/ 191 h 586"/>
                  <a:gd name="T72" fmla="*/ 230 w 498"/>
                  <a:gd name="T73" fmla="*/ 152 h 586"/>
                  <a:gd name="T74" fmla="*/ 369 w 498"/>
                  <a:gd name="T75" fmla="*/ 130 h 586"/>
                  <a:gd name="T76" fmla="*/ 230 w 498"/>
                  <a:gd name="T77" fmla="*/ 75 h 586"/>
                  <a:gd name="T78" fmla="*/ 369 w 498"/>
                  <a:gd name="T79" fmla="*/ 97 h 586"/>
                  <a:gd name="T80" fmla="*/ 230 w 498"/>
                  <a:gd name="T81" fmla="*/ 75 h 586"/>
                  <a:gd name="T82" fmla="*/ 208 w 498"/>
                  <a:gd name="T83" fmla="*/ 482 h 586"/>
                  <a:gd name="T84" fmla="*/ 498 w 498"/>
                  <a:gd name="T85" fmla="*/ 326 h 586"/>
                  <a:gd name="T86" fmla="*/ 200 w 498"/>
                  <a:gd name="T87" fmla="*/ 492 h 586"/>
                  <a:gd name="T88" fmla="*/ 196 w 498"/>
                  <a:gd name="T89" fmla="*/ 586 h 586"/>
                  <a:gd name="T90" fmla="*/ 200 w 498"/>
                  <a:gd name="T91" fmla="*/ 492 h 586"/>
                  <a:gd name="T92" fmla="*/ 416 w 498"/>
                  <a:gd name="T93" fmla="*/ 453 h 586"/>
                  <a:gd name="T94" fmla="*/ 405 w 498"/>
                  <a:gd name="T95" fmla="*/ 531 h 586"/>
                  <a:gd name="T96" fmla="*/ 326 w 498"/>
                  <a:gd name="T97" fmla="*/ 542 h 586"/>
                  <a:gd name="T98" fmla="*/ 322 w 498"/>
                  <a:gd name="T99" fmla="*/ 570 h 586"/>
                  <a:gd name="T100" fmla="*/ 425 w 498"/>
                  <a:gd name="T101" fmla="*/ 551 h 586"/>
                  <a:gd name="T102" fmla="*/ 444 w 498"/>
                  <a:gd name="T103" fmla="*/ 426 h 586"/>
                  <a:gd name="T104" fmla="*/ 137 w 498"/>
                  <a:gd name="T105" fmla="*/ 74 h 586"/>
                  <a:gd name="T106" fmla="*/ 49 w 498"/>
                  <a:gd name="T107" fmla="*/ 18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8" h="586">
                    <a:moveTo>
                      <a:pt x="88" y="0"/>
                    </a:moveTo>
                    <a:cubicBezTo>
                      <a:pt x="379" y="0"/>
                      <a:pt x="379" y="0"/>
                      <a:pt x="379" y="0"/>
                    </a:cubicBezTo>
                    <a:cubicBezTo>
                      <a:pt x="397" y="0"/>
                      <a:pt x="413" y="7"/>
                      <a:pt x="425" y="19"/>
                    </a:cubicBezTo>
                    <a:cubicBezTo>
                      <a:pt x="437" y="31"/>
                      <a:pt x="444" y="47"/>
                      <a:pt x="444" y="65"/>
                    </a:cubicBezTo>
                    <a:cubicBezTo>
                      <a:pt x="444" y="204"/>
                      <a:pt x="444" y="204"/>
                      <a:pt x="444" y="204"/>
                    </a:cubicBezTo>
                    <a:cubicBezTo>
                      <a:pt x="416" y="231"/>
                      <a:pt x="416" y="231"/>
                      <a:pt x="416" y="231"/>
                    </a:cubicBezTo>
                    <a:cubicBezTo>
                      <a:pt x="416" y="65"/>
                      <a:pt x="416" y="65"/>
                      <a:pt x="416" y="65"/>
                    </a:cubicBezTo>
                    <a:cubicBezTo>
                      <a:pt x="416" y="55"/>
                      <a:pt x="412" y="45"/>
                      <a:pt x="405" y="38"/>
                    </a:cubicBezTo>
                    <a:cubicBezTo>
                      <a:pt x="398" y="31"/>
                      <a:pt x="389" y="27"/>
                      <a:pt x="379" y="27"/>
                    </a:cubicBezTo>
                    <a:cubicBezTo>
                      <a:pt x="125" y="27"/>
                      <a:pt x="125" y="27"/>
                      <a:pt x="125" y="27"/>
                    </a:cubicBezTo>
                    <a:cubicBezTo>
                      <a:pt x="166" y="62"/>
                      <a:pt x="166" y="62"/>
                      <a:pt x="166" y="62"/>
                    </a:cubicBezTo>
                    <a:cubicBezTo>
                      <a:pt x="171" y="67"/>
                      <a:pt x="172" y="75"/>
                      <a:pt x="167" y="81"/>
                    </a:cubicBezTo>
                    <a:cubicBezTo>
                      <a:pt x="167" y="81"/>
                      <a:pt x="167" y="81"/>
                      <a:pt x="167" y="81"/>
                    </a:cubicBezTo>
                    <a:cubicBezTo>
                      <a:pt x="27" y="249"/>
                      <a:pt x="27" y="249"/>
                      <a:pt x="27" y="249"/>
                    </a:cubicBezTo>
                    <a:cubicBezTo>
                      <a:pt x="27" y="505"/>
                      <a:pt x="27" y="505"/>
                      <a:pt x="27" y="505"/>
                    </a:cubicBezTo>
                    <a:cubicBezTo>
                      <a:pt x="27" y="515"/>
                      <a:pt x="32" y="524"/>
                      <a:pt x="39" y="531"/>
                    </a:cubicBezTo>
                    <a:cubicBezTo>
                      <a:pt x="45" y="538"/>
                      <a:pt x="55" y="542"/>
                      <a:pt x="65" y="542"/>
                    </a:cubicBezTo>
                    <a:cubicBezTo>
                      <a:pt x="148" y="542"/>
                      <a:pt x="148" y="542"/>
                      <a:pt x="148" y="542"/>
                    </a:cubicBezTo>
                    <a:cubicBezTo>
                      <a:pt x="139" y="570"/>
                      <a:pt x="139" y="570"/>
                      <a:pt x="139" y="570"/>
                    </a:cubicBezTo>
                    <a:cubicBezTo>
                      <a:pt x="65" y="570"/>
                      <a:pt x="65" y="570"/>
                      <a:pt x="65" y="570"/>
                    </a:cubicBezTo>
                    <a:cubicBezTo>
                      <a:pt x="47" y="570"/>
                      <a:pt x="31" y="563"/>
                      <a:pt x="19" y="551"/>
                    </a:cubicBezTo>
                    <a:cubicBezTo>
                      <a:pt x="7" y="539"/>
                      <a:pt x="0" y="522"/>
                      <a:pt x="0" y="505"/>
                    </a:cubicBezTo>
                    <a:cubicBezTo>
                      <a:pt x="0" y="244"/>
                      <a:pt x="0" y="244"/>
                      <a:pt x="0" y="244"/>
                    </a:cubicBezTo>
                    <a:cubicBezTo>
                      <a:pt x="0" y="242"/>
                      <a:pt x="0" y="240"/>
                      <a:pt x="1" y="238"/>
                    </a:cubicBezTo>
                    <a:cubicBezTo>
                      <a:pt x="75" y="9"/>
                      <a:pt x="75" y="9"/>
                      <a:pt x="75" y="9"/>
                    </a:cubicBezTo>
                    <a:cubicBezTo>
                      <a:pt x="75" y="8"/>
                      <a:pt x="76" y="8"/>
                      <a:pt x="76" y="7"/>
                    </a:cubicBezTo>
                    <a:cubicBezTo>
                      <a:pt x="76" y="7"/>
                      <a:pt x="76" y="7"/>
                      <a:pt x="76" y="7"/>
                    </a:cubicBezTo>
                    <a:cubicBezTo>
                      <a:pt x="76" y="7"/>
                      <a:pt x="76" y="7"/>
                      <a:pt x="76" y="7"/>
                    </a:cubicBezTo>
                    <a:cubicBezTo>
                      <a:pt x="76" y="7"/>
                      <a:pt x="76" y="7"/>
                      <a:pt x="76" y="7"/>
                    </a:cubicBezTo>
                    <a:cubicBezTo>
                      <a:pt x="76" y="6"/>
                      <a:pt x="76" y="6"/>
                      <a:pt x="76" y="6"/>
                    </a:cubicBezTo>
                    <a:cubicBezTo>
                      <a:pt x="76" y="6"/>
                      <a:pt x="76" y="6"/>
                      <a:pt x="76" y="6"/>
                    </a:cubicBezTo>
                    <a:cubicBezTo>
                      <a:pt x="77" y="5"/>
                      <a:pt x="78" y="4"/>
                      <a:pt x="79" y="3"/>
                    </a:cubicBezTo>
                    <a:cubicBezTo>
                      <a:pt x="79" y="3"/>
                      <a:pt x="79" y="3"/>
                      <a:pt x="79" y="3"/>
                    </a:cubicBezTo>
                    <a:cubicBezTo>
                      <a:pt x="79" y="3"/>
                      <a:pt x="79" y="3"/>
                      <a:pt x="79" y="3"/>
                    </a:cubicBezTo>
                    <a:cubicBezTo>
                      <a:pt x="79" y="3"/>
                      <a:pt x="79" y="3"/>
                      <a:pt x="79" y="3"/>
                    </a:cubicBezTo>
                    <a:cubicBezTo>
                      <a:pt x="79" y="3"/>
                      <a:pt x="79" y="3"/>
                      <a:pt x="79" y="3"/>
                    </a:cubicBezTo>
                    <a:cubicBezTo>
                      <a:pt x="80" y="3"/>
                      <a:pt x="80" y="3"/>
                      <a:pt x="80" y="3"/>
                    </a:cubicBezTo>
                    <a:cubicBezTo>
                      <a:pt x="80" y="3"/>
                      <a:pt x="80" y="3"/>
                      <a:pt x="80" y="3"/>
                    </a:cubicBezTo>
                    <a:cubicBezTo>
                      <a:pt x="80" y="2"/>
                      <a:pt x="80" y="2"/>
                      <a:pt x="80" y="2"/>
                    </a:cubicBezTo>
                    <a:cubicBezTo>
                      <a:pt x="81" y="2"/>
                      <a:pt x="82" y="1"/>
                      <a:pt x="84" y="0"/>
                    </a:cubicBezTo>
                    <a:cubicBezTo>
                      <a:pt x="84" y="0"/>
                      <a:pt x="84" y="0"/>
                      <a:pt x="84" y="0"/>
                    </a:cubicBezTo>
                    <a:cubicBezTo>
                      <a:pt x="84" y="0"/>
                      <a:pt x="84" y="0"/>
                      <a:pt x="84" y="0"/>
                    </a:cubicBezTo>
                    <a:cubicBezTo>
                      <a:pt x="84" y="0"/>
                      <a:pt x="84" y="0"/>
                      <a:pt x="84" y="0"/>
                    </a:cubicBezTo>
                    <a:cubicBezTo>
                      <a:pt x="85" y="0"/>
                      <a:pt x="85" y="0"/>
                      <a:pt x="85" y="0"/>
                    </a:cubicBezTo>
                    <a:cubicBezTo>
                      <a:pt x="85" y="0"/>
                      <a:pt x="85" y="0"/>
                      <a:pt x="85" y="0"/>
                    </a:cubicBezTo>
                    <a:cubicBezTo>
                      <a:pt x="85" y="0"/>
                      <a:pt x="85" y="0"/>
                      <a:pt x="85" y="0"/>
                    </a:cubicBezTo>
                    <a:cubicBezTo>
                      <a:pt x="85" y="0"/>
                      <a:pt x="85" y="0"/>
                      <a:pt x="85" y="0"/>
                    </a:cubicBezTo>
                    <a:cubicBezTo>
                      <a:pt x="85" y="0"/>
                      <a:pt x="85" y="0"/>
                      <a:pt x="85" y="0"/>
                    </a:cubicBezTo>
                    <a:cubicBezTo>
                      <a:pt x="86" y="0"/>
                      <a:pt x="86" y="0"/>
                      <a:pt x="86" y="0"/>
                    </a:cubicBezTo>
                    <a:cubicBezTo>
                      <a:pt x="86" y="0"/>
                      <a:pt x="86" y="0"/>
                      <a:pt x="86" y="0"/>
                    </a:cubicBezTo>
                    <a:cubicBezTo>
                      <a:pt x="87" y="0"/>
                      <a:pt x="87" y="0"/>
                      <a:pt x="88" y="0"/>
                    </a:cubicBezTo>
                    <a:cubicBezTo>
                      <a:pt x="88" y="0"/>
                      <a:pt x="88" y="0"/>
                      <a:pt x="88" y="0"/>
                    </a:cubicBezTo>
                    <a:close/>
                    <a:moveTo>
                      <a:pt x="82" y="376"/>
                    </a:moveTo>
                    <a:cubicBezTo>
                      <a:pt x="82" y="398"/>
                      <a:pt x="82" y="398"/>
                      <a:pt x="82" y="398"/>
                    </a:cubicBezTo>
                    <a:cubicBezTo>
                      <a:pt x="225" y="398"/>
                      <a:pt x="225" y="398"/>
                      <a:pt x="225" y="398"/>
                    </a:cubicBezTo>
                    <a:cubicBezTo>
                      <a:pt x="225" y="376"/>
                      <a:pt x="225" y="376"/>
                      <a:pt x="225" y="376"/>
                    </a:cubicBezTo>
                    <a:cubicBezTo>
                      <a:pt x="82" y="376"/>
                      <a:pt x="82" y="376"/>
                      <a:pt x="82" y="376"/>
                    </a:cubicBezTo>
                    <a:close/>
                    <a:moveTo>
                      <a:pt x="82" y="316"/>
                    </a:moveTo>
                    <a:cubicBezTo>
                      <a:pt x="82" y="338"/>
                      <a:pt x="82" y="338"/>
                      <a:pt x="82" y="338"/>
                    </a:cubicBezTo>
                    <a:cubicBezTo>
                      <a:pt x="225" y="338"/>
                      <a:pt x="225" y="338"/>
                      <a:pt x="225" y="338"/>
                    </a:cubicBezTo>
                    <a:cubicBezTo>
                      <a:pt x="225" y="316"/>
                      <a:pt x="225" y="316"/>
                      <a:pt x="225" y="316"/>
                    </a:cubicBezTo>
                    <a:cubicBezTo>
                      <a:pt x="82" y="316"/>
                      <a:pt x="82" y="316"/>
                      <a:pt x="82" y="316"/>
                    </a:cubicBezTo>
                    <a:close/>
                    <a:moveTo>
                      <a:pt x="82" y="260"/>
                    </a:moveTo>
                    <a:cubicBezTo>
                      <a:pt x="82" y="282"/>
                      <a:pt x="82" y="282"/>
                      <a:pt x="82" y="282"/>
                    </a:cubicBezTo>
                    <a:cubicBezTo>
                      <a:pt x="369" y="282"/>
                      <a:pt x="369" y="282"/>
                      <a:pt x="369" y="282"/>
                    </a:cubicBezTo>
                    <a:cubicBezTo>
                      <a:pt x="369" y="260"/>
                      <a:pt x="369" y="260"/>
                      <a:pt x="369" y="260"/>
                    </a:cubicBezTo>
                    <a:cubicBezTo>
                      <a:pt x="82" y="260"/>
                      <a:pt x="82" y="260"/>
                      <a:pt x="82" y="260"/>
                    </a:cubicBezTo>
                    <a:close/>
                    <a:moveTo>
                      <a:pt x="230" y="191"/>
                    </a:moveTo>
                    <a:cubicBezTo>
                      <a:pt x="230" y="213"/>
                      <a:pt x="230" y="213"/>
                      <a:pt x="230" y="213"/>
                    </a:cubicBezTo>
                    <a:cubicBezTo>
                      <a:pt x="369" y="213"/>
                      <a:pt x="369" y="213"/>
                      <a:pt x="369" y="213"/>
                    </a:cubicBezTo>
                    <a:cubicBezTo>
                      <a:pt x="369" y="191"/>
                      <a:pt x="369" y="191"/>
                      <a:pt x="369" y="191"/>
                    </a:cubicBezTo>
                    <a:cubicBezTo>
                      <a:pt x="230" y="191"/>
                      <a:pt x="230" y="191"/>
                      <a:pt x="230" y="191"/>
                    </a:cubicBezTo>
                    <a:close/>
                    <a:moveTo>
                      <a:pt x="230" y="130"/>
                    </a:moveTo>
                    <a:cubicBezTo>
                      <a:pt x="230" y="152"/>
                      <a:pt x="230" y="152"/>
                      <a:pt x="230" y="152"/>
                    </a:cubicBezTo>
                    <a:cubicBezTo>
                      <a:pt x="369" y="152"/>
                      <a:pt x="369" y="152"/>
                      <a:pt x="369" y="152"/>
                    </a:cubicBezTo>
                    <a:cubicBezTo>
                      <a:pt x="369" y="130"/>
                      <a:pt x="369" y="130"/>
                      <a:pt x="369" y="130"/>
                    </a:cubicBezTo>
                    <a:cubicBezTo>
                      <a:pt x="230" y="130"/>
                      <a:pt x="230" y="130"/>
                      <a:pt x="230" y="130"/>
                    </a:cubicBezTo>
                    <a:close/>
                    <a:moveTo>
                      <a:pt x="230" y="75"/>
                    </a:moveTo>
                    <a:cubicBezTo>
                      <a:pt x="230" y="97"/>
                      <a:pt x="230" y="97"/>
                      <a:pt x="230" y="97"/>
                    </a:cubicBezTo>
                    <a:cubicBezTo>
                      <a:pt x="369" y="97"/>
                      <a:pt x="369" y="97"/>
                      <a:pt x="369" y="97"/>
                    </a:cubicBezTo>
                    <a:cubicBezTo>
                      <a:pt x="369" y="75"/>
                      <a:pt x="369" y="75"/>
                      <a:pt x="369" y="75"/>
                    </a:cubicBezTo>
                    <a:cubicBezTo>
                      <a:pt x="230" y="75"/>
                      <a:pt x="230" y="75"/>
                      <a:pt x="230" y="75"/>
                    </a:cubicBezTo>
                    <a:close/>
                    <a:moveTo>
                      <a:pt x="431" y="259"/>
                    </a:moveTo>
                    <a:cubicBezTo>
                      <a:pt x="208" y="482"/>
                      <a:pt x="208" y="482"/>
                      <a:pt x="208" y="482"/>
                    </a:cubicBezTo>
                    <a:cubicBezTo>
                      <a:pt x="275" y="549"/>
                      <a:pt x="275" y="549"/>
                      <a:pt x="275" y="549"/>
                    </a:cubicBezTo>
                    <a:cubicBezTo>
                      <a:pt x="498" y="326"/>
                      <a:pt x="498" y="326"/>
                      <a:pt x="498" y="326"/>
                    </a:cubicBezTo>
                    <a:cubicBezTo>
                      <a:pt x="431" y="259"/>
                      <a:pt x="431" y="259"/>
                      <a:pt x="431" y="259"/>
                    </a:cubicBezTo>
                    <a:close/>
                    <a:moveTo>
                      <a:pt x="200" y="492"/>
                    </a:moveTo>
                    <a:cubicBezTo>
                      <a:pt x="174" y="565"/>
                      <a:pt x="174" y="565"/>
                      <a:pt x="174" y="565"/>
                    </a:cubicBezTo>
                    <a:cubicBezTo>
                      <a:pt x="196" y="586"/>
                      <a:pt x="196" y="586"/>
                      <a:pt x="196" y="586"/>
                    </a:cubicBezTo>
                    <a:cubicBezTo>
                      <a:pt x="266" y="558"/>
                      <a:pt x="266" y="558"/>
                      <a:pt x="266" y="558"/>
                    </a:cubicBezTo>
                    <a:cubicBezTo>
                      <a:pt x="200" y="492"/>
                      <a:pt x="200" y="492"/>
                      <a:pt x="200" y="492"/>
                    </a:cubicBezTo>
                    <a:close/>
                    <a:moveTo>
                      <a:pt x="444" y="426"/>
                    </a:moveTo>
                    <a:cubicBezTo>
                      <a:pt x="416" y="453"/>
                      <a:pt x="416" y="453"/>
                      <a:pt x="416" y="453"/>
                    </a:cubicBezTo>
                    <a:cubicBezTo>
                      <a:pt x="416" y="505"/>
                      <a:pt x="416" y="505"/>
                      <a:pt x="416" y="505"/>
                    </a:cubicBezTo>
                    <a:cubicBezTo>
                      <a:pt x="416" y="515"/>
                      <a:pt x="412" y="524"/>
                      <a:pt x="405" y="531"/>
                    </a:cubicBezTo>
                    <a:cubicBezTo>
                      <a:pt x="398" y="538"/>
                      <a:pt x="389" y="542"/>
                      <a:pt x="379" y="542"/>
                    </a:cubicBezTo>
                    <a:cubicBezTo>
                      <a:pt x="326" y="542"/>
                      <a:pt x="326" y="542"/>
                      <a:pt x="326" y="542"/>
                    </a:cubicBezTo>
                    <a:cubicBezTo>
                      <a:pt x="310" y="558"/>
                      <a:pt x="310" y="558"/>
                      <a:pt x="310" y="558"/>
                    </a:cubicBezTo>
                    <a:cubicBezTo>
                      <a:pt x="322" y="570"/>
                      <a:pt x="322" y="570"/>
                      <a:pt x="322" y="570"/>
                    </a:cubicBezTo>
                    <a:cubicBezTo>
                      <a:pt x="379" y="570"/>
                      <a:pt x="379" y="570"/>
                      <a:pt x="379" y="570"/>
                    </a:cubicBezTo>
                    <a:cubicBezTo>
                      <a:pt x="397" y="570"/>
                      <a:pt x="413" y="563"/>
                      <a:pt x="425" y="551"/>
                    </a:cubicBezTo>
                    <a:cubicBezTo>
                      <a:pt x="437" y="539"/>
                      <a:pt x="444" y="522"/>
                      <a:pt x="444" y="505"/>
                    </a:cubicBezTo>
                    <a:cubicBezTo>
                      <a:pt x="444" y="426"/>
                      <a:pt x="444" y="426"/>
                      <a:pt x="444" y="426"/>
                    </a:cubicBezTo>
                    <a:close/>
                    <a:moveTo>
                      <a:pt x="49" y="180"/>
                    </a:moveTo>
                    <a:cubicBezTo>
                      <a:pt x="137" y="74"/>
                      <a:pt x="137" y="74"/>
                      <a:pt x="137" y="74"/>
                    </a:cubicBezTo>
                    <a:cubicBezTo>
                      <a:pt x="95" y="37"/>
                      <a:pt x="95" y="37"/>
                      <a:pt x="95" y="37"/>
                    </a:cubicBezTo>
                    <a:lnTo>
                      <a:pt x="49" y="180"/>
                    </a:lnTo>
                    <a:close/>
                  </a:path>
                </a:pathLst>
              </a:custGeom>
              <a:solidFill>
                <a:schemeClr val="bg1"/>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solidFill>
                    <a:schemeClr val="bg1">
                      <a:lumMod val="50000"/>
                    </a:schemeClr>
                  </a:solidFill>
                </a:endParaRPr>
              </a:p>
            </p:txBody>
          </p:sp>
        </p:grpSp>
      </p:grpSp>
      <p:grpSp>
        <p:nvGrpSpPr>
          <p:cNvPr id="26" name="组合 25"/>
          <p:cNvGrpSpPr/>
          <p:nvPr/>
        </p:nvGrpSpPr>
        <p:grpSpPr>
          <a:xfrm>
            <a:off x="5599270" y="2600330"/>
            <a:ext cx="1637027" cy="1522214"/>
            <a:chOff x="5599269" y="2626288"/>
            <a:chExt cx="1637027" cy="1522214"/>
          </a:xfrm>
        </p:grpSpPr>
        <p:sp>
          <p:nvSpPr>
            <p:cNvPr id="27" name="椭圆 26"/>
            <p:cNvSpPr/>
            <p:nvPr/>
          </p:nvSpPr>
          <p:spPr>
            <a:xfrm flipV="1">
              <a:off x="5599269" y="2626288"/>
              <a:ext cx="216024" cy="21602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28" name="任意多边形 27"/>
            <p:cNvSpPr/>
            <p:nvPr/>
          </p:nvSpPr>
          <p:spPr>
            <a:xfrm flipV="1">
              <a:off x="5717367" y="2837495"/>
              <a:ext cx="870857" cy="986971"/>
            </a:xfrm>
            <a:custGeom>
              <a:avLst/>
              <a:gdLst>
                <a:gd name="connsiteX0" fmla="*/ 0 w 870857"/>
                <a:gd name="connsiteY0" fmla="*/ 986971 h 986971"/>
                <a:gd name="connsiteX1" fmla="*/ 0 w 870857"/>
                <a:gd name="connsiteY1" fmla="*/ 0 h 986971"/>
                <a:gd name="connsiteX2" fmla="*/ 870857 w 870857"/>
                <a:gd name="connsiteY2" fmla="*/ 0 h 986971"/>
              </a:gdLst>
              <a:ahLst/>
              <a:cxnLst>
                <a:cxn ang="0">
                  <a:pos x="connsiteX0" y="connsiteY0"/>
                </a:cxn>
                <a:cxn ang="0">
                  <a:pos x="connsiteX1" y="connsiteY1"/>
                </a:cxn>
                <a:cxn ang="0">
                  <a:pos x="connsiteX2" y="connsiteY2"/>
                </a:cxn>
              </a:cxnLst>
              <a:rect l="l" t="t" r="r" b="b"/>
              <a:pathLst>
                <a:path w="870857" h="986971">
                  <a:moveTo>
                    <a:pt x="0" y="986971"/>
                  </a:moveTo>
                  <a:lnTo>
                    <a:pt x="0" y="0"/>
                  </a:lnTo>
                  <a:lnTo>
                    <a:pt x="870857" y="0"/>
                  </a:lnTo>
                </a:path>
              </a:pathLst>
            </a:cu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bg1">
                    <a:lumMod val="50000"/>
                  </a:schemeClr>
                </a:solidFill>
              </a:endParaRPr>
            </a:p>
          </p:txBody>
        </p:sp>
        <p:grpSp>
          <p:nvGrpSpPr>
            <p:cNvPr id="29" name="组合 28"/>
            <p:cNvGrpSpPr/>
            <p:nvPr/>
          </p:nvGrpSpPr>
          <p:grpSpPr>
            <a:xfrm>
              <a:off x="6588224" y="3500430"/>
              <a:ext cx="648072" cy="648072"/>
              <a:chOff x="6588224" y="3500430"/>
              <a:chExt cx="648072" cy="648072"/>
            </a:xfrm>
          </p:grpSpPr>
          <p:sp>
            <p:nvSpPr>
              <p:cNvPr id="30" name="椭圆 29"/>
              <p:cNvSpPr/>
              <p:nvPr/>
            </p:nvSpPr>
            <p:spPr>
              <a:xfrm flipV="1">
                <a:off x="6588224" y="3500430"/>
                <a:ext cx="648072" cy="6480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endParaRPr>
              </a:p>
            </p:txBody>
          </p:sp>
          <p:sp>
            <p:nvSpPr>
              <p:cNvPr id="31" name="Freeform 18"/>
              <p:cNvSpPr>
                <a:spLocks noEditPoints="1"/>
              </p:cNvSpPr>
              <p:nvPr/>
            </p:nvSpPr>
            <p:spPr bwMode="black">
              <a:xfrm>
                <a:off x="6804248" y="3700555"/>
                <a:ext cx="253430" cy="247822"/>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bg1"/>
              </a:solidFill>
              <a:ln>
                <a:noFill/>
              </a:ln>
            </p:spPr>
            <p:txBody>
              <a:bodyPr vert="horz" wrap="square" lIns="61735" tIns="30867" rIns="61735" bIns="30867"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solidFill>
                    <a:schemeClr val="bg1">
                      <a:lumMod val="50000"/>
                    </a:schemeClr>
                  </a:solidFill>
                </a:endParaRPr>
              </a:p>
            </p:txBody>
          </p:sp>
        </p:grpSp>
      </p:grpSp>
      <p:sp>
        <p:nvSpPr>
          <p:cNvPr id="32" name="矩形 31"/>
          <p:cNvSpPr/>
          <p:nvPr/>
        </p:nvSpPr>
        <p:spPr>
          <a:xfrm>
            <a:off x="1372998" y="2061044"/>
            <a:ext cx="2502552" cy="369332"/>
          </a:xfrm>
          <a:prstGeom prst="rect">
            <a:avLst/>
          </a:prstGeom>
        </p:spPr>
        <p:txBody>
          <a:bodyPr wrap="square">
            <a:spAutoFit/>
          </a:bodyPr>
          <a:lstStyle/>
          <a:p>
            <a:pPr algn="ctr">
              <a:lnSpc>
                <a:spcPct val="150000"/>
              </a:lnSpc>
            </a:pPr>
            <a:r>
              <a:rPr lang="zh-CN" altLang="en-US" sz="1200" dirty="0">
                <a:solidFill>
                  <a:schemeClr val="bg1">
                    <a:lumMod val="50000"/>
                  </a:schemeClr>
                </a:solidFill>
              </a:rPr>
              <a:t>这里根据您的需要输入介绍文本</a:t>
            </a:r>
          </a:p>
        </p:txBody>
      </p:sp>
      <p:sp>
        <p:nvSpPr>
          <p:cNvPr id="33" name="矩形 32"/>
          <p:cNvSpPr/>
          <p:nvPr/>
        </p:nvSpPr>
        <p:spPr>
          <a:xfrm>
            <a:off x="4347993" y="2061044"/>
            <a:ext cx="2502552" cy="369332"/>
          </a:xfrm>
          <a:prstGeom prst="rect">
            <a:avLst/>
          </a:prstGeom>
        </p:spPr>
        <p:txBody>
          <a:bodyPr wrap="square">
            <a:spAutoFit/>
          </a:bodyPr>
          <a:lstStyle/>
          <a:p>
            <a:pPr algn="ctr">
              <a:lnSpc>
                <a:spcPct val="150000"/>
              </a:lnSpc>
            </a:pPr>
            <a:r>
              <a:rPr lang="zh-CN" altLang="en-US" sz="1200" dirty="0">
                <a:solidFill>
                  <a:schemeClr val="bg1">
                    <a:lumMod val="50000"/>
                  </a:schemeClr>
                </a:solidFill>
              </a:rPr>
              <a:t>这里根据您的需要输入介绍文本</a:t>
            </a:r>
          </a:p>
        </p:txBody>
      </p:sp>
      <p:sp>
        <p:nvSpPr>
          <p:cNvPr id="34" name="矩形 33"/>
          <p:cNvSpPr/>
          <p:nvPr/>
        </p:nvSpPr>
        <p:spPr>
          <a:xfrm>
            <a:off x="2858245" y="2988725"/>
            <a:ext cx="2502552" cy="369332"/>
          </a:xfrm>
          <a:prstGeom prst="rect">
            <a:avLst/>
          </a:prstGeom>
        </p:spPr>
        <p:txBody>
          <a:bodyPr wrap="square">
            <a:spAutoFit/>
          </a:bodyPr>
          <a:lstStyle/>
          <a:p>
            <a:pPr algn="ctr">
              <a:lnSpc>
                <a:spcPct val="150000"/>
              </a:lnSpc>
            </a:pPr>
            <a:r>
              <a:rPr lang="zh-CN" altLang="en-US" sz="1200" dirty="0">
                <a:solidFill>
                  <a:schemeClr val="bg1">
                    <a:lumMod val="50000"/>
                  </a:schemeClr>
                </a:solidFill>
              </a:rPr>
              <a:t>这里根据您的需要输入介绍文本</a:t>
            </a:r>
          </a:p>
        </p:txBody>
      </p:sp>
      <p:sp>
        <p:nvSpPr>
          <p:cNvPr id="35" name="矩形 34"/>
          <p:cNvSpPr/>
          <p:nvPr/>
        </p:nvSpPr>
        <p:spPr>
          <a:xfrm>
            <a:off x="5868144" y="2988725"/>
            <a:ext cx="2502552" cy="369332"/>
          </a:xfrm>
          <a:prstGeom prst="rect">
            <a:avLst/>
          </a:prstGeom>
        </p:spPr>
        <p:txBody>
          <a:bodyPr wrap="square">
            <a:spAutoFit/>
          </a:bodyPr>
          <a:lstStyle/>
          <a:p>
            <a:pPr algn="ctr">
              <a:lnSpc>
                <a:spcPct val="150000"/>
              </a:lnSpc>
            </a:pPr>
            <a:r>
              <a:rPr lang="zh-CN" altLang="en-US" sz="1200" dirty="0">
                <a:solidFill>
                  <a:schemeClr val="bg1">
                    <a:lumMod val="50000"/>
                  </a:schemeClr>
                </a:solidFill>
              </a:rPr>
              <a:t>这里根据您的需要输入介绍文本</a:t>
            </a:r>
          </a:p>
        </p:txBody>
      </p:sp>
    </p:spTree>
  </p:cSld>
  <p:clrMapOvr>
    <a:masterClrMapping/>
  </p:clrMapOvr>
  <p:transition spd="slow" advTm="2451">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500"/>
                                        <p:tgtEl>
                                          <p:spTgt spid="5"/>
                                        </p:tgtEl>
                                      </p:cBhvr>
                                    </p:animEffect>
                                  </p:childTnLst>
                                </p:cTn>
                              </p:par>
                              <p:par>
                                <p:cTn id="12" presetID="22" presetClass="entr" presetSubtype="1" fill="hold" nodeType="withEffect">
                                  <p:stCondLst>
                                    <p:cond delay="300"/>
                                  </p:stCondLst>
                                  <p:childTnLst>
                                    <p:set>
                                      <p:cBhvr>
                                        <p:cTn id="13" dur="1" fill="hold">
                                          <p:stCondLst>
                                            <p:cond delay="0"/>
                                          </p:stCondLst>
                                        </p:cTn>
                                        <p:tgtEl>
                                          <p:spTgt spid="20"/>
                                        </p:tgtEl>
                                        <p:attrNameLst>
                                          <p:attrName>style.visibility</p:attrName>
                                        </p:attrNameLst>
                                      </p:cBhvr>
                                      <p:to>
                                        <p:strVal val="visible"/>
                                      </p:to>
                                    </p:set>
                                    <p:animEffect transition="in" filter="wipe(up)">
                                      <p:cBhvr>
                                        <p:cTn id="14" dur="500"/>
                                        <p:tgtEl>
                                          <p:spTgt spid="20"/>
                                        </p:tgtEl>
                                      </p:cBhvr>
                                    </p:animEffect>
                                  </p:childTnLst>
                                </p:cTn>
                              </p:par>
                              <p:par>
                                <p:cTn id="15" presetID="10" presetClass="entr" presetSubtype="0" fill="hold" grpId="0" nodeType="withEffect">
                                  <p:stCondLst>
                                    <p:cond delay="30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par>
                                <p:cTn id="18" presetID="22" presetClass="entr" presetSubtype="4" fill="hold" nodeType="withEffect">
                                  <p:stCondLst>
                                    <p:cond delay="500"/>
                                  </p:stCondLst>
                                  <p:childTnLst>
                                    <p:set>
                                      <p:cBhvr>
                                        <p:cTn id="19" dur="1" fill="hold">
                                          <p:stCondLst>
                                            <p:cond delay="0"/>
                                          </p:stCondLst>
                                        </p:cTn>
                                        <p:tgtEl>
                                          <p:spTgt spid="14"/>
                                        </p:tgtEl>
                                        <p:attrNameLst>
                                          <p:attrName>style.visibility</p:attrName>
                                        </p:attrNameLst>
                                      </p:cBhvr>
                                      <p:to>
                                        <p:strVal val="visible"/>
                                      </p:to>
                                    </p:set>
                                    <p:animEffect transition="in" filter="wipe(down)">
                                      <p:cBhvr>
                                        <p:cTn id="20" dur="500"/>
                                        <p:tgtEl>
                                          <p:spTgt spid="14"/>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4"/>
                                        </p:tgtEl>
                                        <p:attrNameLst>
                                          <p:attrName>style.visibility</p:attrName>
                                        </p:attrNameLst>
                                      </p:cBhvr>
                                      <p:to>
                                        <p:strVal val="visible"/>
                                      </p:to>
                                    </p:set>
                                    <p:animEffect transition="in" filter="fade">
                                      <p:cBhvr>
                                        <p:cTn id="23" dur="500"/>
                                        <p:tgtEl>
                                          <p:spTgt spid="34"/>
                                        </p:tgtEl>
                                      </p:cBhvr>
                                    </p:animEffect>
                                  </p:childTnLst>
                                </p:cTn>
                              </p:par>
                              <p:par>
                                <p:cTn id="24" presetID="22" presetClass="entr" presetSubtype="1" fill="hold" nodeType="withEffect">
                                  <p:stCondLst>
                                    <p:cond delay="600"/>
                                  </p:stCondLst>
                                  <p:childTnLst>
                                    <p:set>
                                      <p:cBhvr>
                                        <p:cTn id="25" dur="1" fill="hold">
                                          <p:stCondLst>
                                            <p:cond delay="0"/>
                                          </p:stCondLst>
                                        </p:cTn>
                                        <p:tgtEl>
                                          <p:spTgt spid="26"/>
                                        </p:tgtEl>
                                        <p:attrNameLst>
                                          <p:attrName>style.visibility</p:attrName>
                                        </p:attrNameLst>
                                      </p:cBhvr>
                                      <p:to>
                                        <p:strVal val="visible"/>
                                      </p:to>
                                    </p:set>
                                    <p:animEffect transition="in" filter="wipe(up)">
                                      <p:cBhvr>
                                        <p:cTn id="26" dur="500"/>
                                        <p:tgtEl>
                                          <p:spTgt spid="26"/>
                                        </p:tgtEl>
                                      </p:cBhvr>
                                    </p:animEffect>
                                  </p:childTnLst>
                                </p:cTn>
                              </p:par>
                              <p:par>
                                <p:cTn id="27" presetID="10" presetClass="entr" presetSubtype="0" fill="hold" grpId="0" nodeType="withEffect">
                                  <p:stCondLst>
                                    <p:cond delay="60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par>
                                <p:cTn id="30" presetID="10" presetClass="entr" presetSubtype="0" fill="hold" grpId="0" nodeType="withEffect">
                                  <p:stCondLst>
                                    <p:cond delay="90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3" grpId="0"/>
      <p:bldP spid="34" grpId="0"/>
      <p:bldP spid="3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4" name="等腰三角形 3"/>
          <p:cNvSpPr/>
          <p:nvPr/>
        </p:nvSpPr>
        <p:spPr>
          <a:xfrm>
            <a:off x="4111179" y="1682631"/>
            <a:ext cx="945453" cy="7374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TW" altLang="en-US" sz="1050">
              <a:solidFill>
                <a:srgbClr val="709020"/>
              </a:solidFill>
            </a:endParaRPr>
          </a:p>
        </p:txBody>
      </p:sp>
      <p:sp>
        <p:nvSpPr>
          <p:cNvPr id="5" name="等腰三角形 4"/>
          <p:cNvSpPr/>
          <p:nvPr/>
        </p:nvSpPr>
        <p:spPr>
          <a:xfrm rot="17349446">
            <a:off x="3036681" y="2468191"/>
            <a:ext cx="945453" cy="7374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TW" altLang="en-US" sz="1050">
              <a:solidFill>
                <a:srgbClr val="709020"/>
              </a:solidFill>
            </a:endParaRPr>
          </a:p>
        </p:txBody>
      </p:sp>
      <p:sp>
        <p:nvSpPr>
          <p:cNvPr id="6" name="等腰三角形 5"/>
          <p:cNvSpPr/>
          <p:nvPr/>
        </p:nvSpPr>
        <p:spPr>
          <a:xfrm rot="4412476">
            <a:off x="5155548" y="2491672"/>
            <a:ext cx="945453" cy="7374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TW" altLang="en-US" sz="1050">
              <a:solidFill>
                <a:srgbClr val="709020"/>
              </a:solidFill>
            </a:endParaRPr>
          </a:p>
        </p:txBody>
      </p:sp>
      <p:sp>
        <p:nvSpPr>
          <p:cNvPr id="7" name="等腰三角形 6"/>
          <p:cNvSpPr/>
          <p:nvPr/>
        </p:nvSpPr>
        <p:spPr>
          <a:xfrm rot="8496566">
            <a:off x="4743358" y="3708722"/>
            <a:ext cx="945453" cy="7374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TW" altLang="en-US" sz="1050">
              <a:solidFill>
                <a:srgbClr val="709020"/>
              </a:solidFill>
            </a:endParaRPr>
          </a:p>
        </p:txBody>
      </p:sp>
      <p:sp>
        <p:nvSpPr>
          <p:cNvPr id="8" name="等腰三角形 7"/>
          <p:cNvSpPr/>
          <p:nvPr/>
        </p:nvSpPr>
        <p:spPr>
          <a:xfrm rot="13048701">
            <a:off x="3399351" y="3710773"/>
            <a:ext cx="945453" cy="737402"/>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TW" altLang="en-US" sz="1050">
              <a:solidFill>
                <a:srgbClr val="709020"/>
              </a:solidFill>
            </a:endParaRPr>
          </a:p>
        </p:txBody>
      </p:sp>
      <p:grpSp>
        <p:nvGrpSpPr>
          <p:cNvPr id="9" name="组合 8"/>
          <p:cNvGrpSpPr/>
          <p:nvPr/>
        </p:nvGrpSpPr>
        <p:grpSpPr>
          <a:xfrm>
            <a:off x="3891281" y="2382629"/>
            <a:ext cx="1495321" cy="1645828"/>
            <a:chOff x="3819273" y="2454637"/>
            <a:chExt cx="1495321" cy="1645828"/>
          </a:xfrm>
          <a:solidFill>
            <a:schemeClr val="accent1"/>
          </a:solidFill>
        </p:grpSpPr>
        <p:sp>
          <p:nvSpPr>
            <p:cNvPr id="10" name="Freeform 6"/>
            <p:cNvSpPr/>
            <p:nvPr/>
          </p:nvSpPr>
          <p:spPr bwMode="auto">
            <a:xfrm rot="6531590">
              <a:off x="3744020" y="2529890"/>
              <a:ext cx="1645828" cy="1495321"/>
            </a:xfrm>
            <a:custGeom>
              <a:avLst/>
              <a:gdLst/>
              <a:ahLst/>
              <a:cxnLst>
                <a:cxn ang="0">
                  <a:pos x="872" y="4340"/>
                </a:cxn>
                <a:cxn ang="0">
                  <a:pos x="0" y="1658"/>
                </a:cxn>
                <a:cxn ang="0">
                  <a:pos x="2282" y="0"/>
                </a:cxn>
                <a:cxn ang="0">
                  <a:pos x="4564" y="1658"/>
                </a:cxn>
                <a:cxn ang="0">
                  <a:pos x="3692" y="4340"/>
                </a:cxn>
                <a:cxn ang="0">
                  <a:pos x="872" y="4340"/>
                </a:cxn>
              </a:cxnLst>
              <a:rect l="0" t="0" r="r" b="b"/>
              <a:pathLst>
                <a:path w="4564" h="4340">
                  <a:moveTo>
                    <a:pt x="872" y="4340"/>
                  </a:moveTo>
                  <a:lnTo>
                    <a:pt x="0" y="1658"/>
                  </a:lnTo>
                  <a:lnTo>
                    <a:pt x="2282" y="0"/>
                  </a:lnTo>
                  <a:lnTo>
                    <a:pt x="4564" y="1658"/>
                  </a:lnTo>
                  <a:lnTo>
                    <a:pt x="3692" y="4340"/>
                  </a:lnTo>
                  <a:lnTo>
                    <a:pt x="872" y="434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zh-TW" altLang="en-US">
                <a:solidFill>
                  <a:srgbClr val="709020"/>
                </a:solidFill>
              </a:endParaRPr>
            </a:p>
          </p:txBody>
        </p:sp>
        <p:sp>
          <p:nvSpPr>
            <p:cNvPr id="11" name="矩形 10"/>
            <p:cNvSpPr/>
            <p:nvPr/>
          </p:nvSpPr>
          <p:spPr>
            <a:xfrm>
              <a:off x="3927107" y="3073833"/>
              <a:ext cx="1107996" cy="369332"/>
            </a:xfrm>
            <a:prstGeom prst="rect">
              <a:avLst/>
            </a:prstGeom>
            <a:grpFill/>
          </p:spPr>
          <p:txBody>
            <a:bodyPr wrap="none">
              <a:spAutoFit/>
            </a:bodyPr>
            <a:lstStyle/>
            <a:p>
              <a:pPr algn="ctr"/>
              <a:r>
                <a:rPr lang="zh-CN" altLang="en-US" dirty="0">
                  <a:solidFill>
                    <a:schemeClr val="bg1"/>
                  </a:solidFill>
                </a:rPr>
                <a:t>添加文本</a:t>
              </a:r>
              <a:endParaRPr lang="de-DE" altLang="zh-CN" dirty="0">
                <a:solidFill>
                  <a:schemeClr val="bg1"/>
                </a:solidFill>
              </a:endParaRPr>
            </a:p>
          </p:txBody>
        </p:sp>
      </p:grpSp>
      <p:sp>
        <p:nvSpPr>
          <p:cNvPr id="12" name="矩形 11"/>
          <p:cNvSpPr/>
          <p:nvPr/>
        </p:nvSpPr>
        <p:spPr>
          <a:xfrm>
            <a:off x="3699113" y="1033623"/>
            <a:ext cx="1708000" cy="590931"/>
          </a:xfrm>
          <a:prstGeom prst="rect">
            <a:avLst/>
          </a:prstGeom>
        </p:spPr>
        <p:txBody>
          <a:bodyPr wrap="square">
            <a:spAutoFit/>
          </a:bodyPr>
          <a:lstStyle/>
          <a:p>
            <a:pPr marL="0" lvl="1" algn="ct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ct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ct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p:txBody>
      </p:sp>
      <p:sp>
        <p:nvSpPr>
          <p:cNvPr id="13" name="矩形 12"/>
          <p:cNvSpPr/>
          <p:nvPr/>
        </p:nvSpPr>
        <p:spPr>
          <a:xfrm>
            <a:off x="6115803" y="2603353"/>
            <a:ext cx="1624549" cy="590931"/>
          </a:xfrm>
          <a:prstGeom prst="rect">
            <a:avLst/>
          </a:prstGeom>
        </p:spPr>
        <p:txBody>
          <a:bodyPr wrap="square">
            <a:spAutoFit/>
          </a:bodyPr>
          <a:lstStyle/>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p:txBody>
      </p:sp>
      <p:sp>
        <p:nvSpPr>
          <p:cNvPr id="14" name="矩形 13"/>
          <p:cNvSpPr/>
          <p:nvPr/>
        </p:nvSpPr>
        <p:spPr>
          <a:xfrm>
            <a:off x="5612473" y="3740407"/>
            <a:ext cx="1695831" cy="590931"/>
          </a:xfrm>
          <a:prstGeom prst="rect">
            <a:avLst/>
          </a:prstGeom>
        </p:spPr>
        <p:txBody>
          <a:bodyPr wrap="square">
            <a:spAutoFit/>
          </a:bodyPr>
          <a:lstStyle/>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p:txBody>
      </p:sp>
      <p:sp>
        <p:nvSpPr>
          <p:cNvPr id="15" name="矩形 14"/>
          <p:cNvSpPr/>
          <p:nvPr/>
        </p:nvSpPr>
        <p:spPr>
          <a:xfrm>
            <a:off x="1403648" y="2523357"/>
            <a:ext cx="1656184" cy="590931"/>
          </a:xfrm>
          <a:prstGeom prst="rect">
            <a:avLst/>
          </a:prstGeom>
        </p:spPr>
        <p:txBody>
          <a:bodyPr wrap="square">
            <a:spAutoFit/>
          </a:bodyPr>
          <a:lstStyle/>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p:txBody>
      </p:sp>
      <p:sp>
        <p:nvSpPr>
          <p:cNvPr id="16" name="矩形 15"/>
          <p:cNvSpPr/>
          <p:nvPr/>
        </p:nvSpPr>
        <p:spPr>
          <a:xfrm>
            <a:off x="1763688" y="3755481"/>
            <a:ext cx="1656184" cy="590931"/>
          </a:xfrm>
          <a:prstGeom prst="rect">
            <a:avLst/>
          </a:prstGeom>
        </p:spPr>
        <p:txBody>
          <a:bodyPr wrap="square">
            <a:spAutoFit/>
          </a:bodyPr>
          <a:lstStyle/>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a:p>
            <a:pPr marL="0" lvl="1" algn="r" defTabSz="1656715" fontAlgn="base">
              <a:lnSpc>
                <a:spcPct val="90000"/>
              </a:lnSpc>
              <a:spcBef>
                <a:spcPct val="0"/>
              </a:spcBef>
              <a:spcAft>
                <a:spcPct val="0"/>
              </a:spcAft>
              <a:defRPr/>
            </a:pPr>
            <a:r>
              <a:rPr lang="zh-CN" altLang="en-US" sz="1200" kern="0" spc="-11" dirty="0">
                <a:solidFill>
                  <a:srgbClr val="787878"/>
                </a:solidFill>
              </a:rPr>
              <a:t>单击此处添加文本</a:t>
            </a:r>
            <a:endParaRPr lang="en-US" altLang="zh-CN" sz="1200" kern="0" spc="-11" dirty="0">
              <a:solidFill>
                <a:srgbClr val="787878"/>
              </a:solidFill>
            </a:endParaRPr>
          </a:p>
        </p:txBody>
      </p:sp>
    </p:spTree>
  </p:cSld>
  <p:clrMapOvr>
    <a:masterClrMapping/>
  </p:clrMapOvr>
  <p:transition spd="slow" advTm="2775">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animEffect transition="in" filter="fade">
                                      <p:cBhvr>
                                        <p:cTn id="9" dur="500"/>
                                        <p:tgtEl>
                                          <p:spTgt spid="9"/>
                                        </p:tgtEl>
                                      </p:cBhvr>
                                    </p:animEffect>
                                  </p:childTnLst>
                                </p:cTn>
                              </p:par>
                            </p:childTnLst>
                          </p:cTn>
                        </p:par>
                        <p:par>
                          <p:cTn id="10" fill="hold">
                            <p:stCondLst>
                              <p:cond delay="500"/>
                            </p:stCondLst>
                            <p:childTnLst>
                              <p:par>
                                <p:cTn id="11" presetID="22" presetClass="entr" presetSubtype="4"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left)">
                                      <p:cBhvr>
                                        <p:cTn id="16" dur="500"/>
                                        <p:tgtEl>
                                          <p:spTgt spid="6"/>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up)">
                                      <p:cBhvr>
                                        <p:cTn id="19" dur="500"/>
                                        <p:tgtEl>
                                          <p:spTgt spid="7"/>
                                        </p:tgtEl>
                                      </p:cBhvr>
                                    </p:animEffect>
                                  </p:childTnLst>
                                </p:cTn>
                              </p:par>
                              <p:par>
                                <p:cTn id="20" presetID="22" presetClass="entr" presetSubtype="1"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up)">
                                      <p:cBhvr>
                                        <p:cTn id="22" dur="500"/>
                                        <p:tgtEl>
                                          <p:spTgt spid="8"/>
                                        </p:tgtEl>
                                      </p:cBhvr>
                                    </p:animEffect>
                                  </p:childTnLst>
                                </p:cTn>
                              </p:par>
                              <p:par>
                                <p:cTn id="23" presetID="22" presetClass="entr" presetSubtype="2" fill="hold" grpId="0" nodeType="withEffect">
                                  <p:stCondLst>
                                    <p:cond delay="0"/>
                                  </p:stCondLst>
                                  <p:childTnLst>
                                    <p:set>
                                      <p:cBhvr>
                                        <p:cTn id="24" dur="1" fill="hold">
                                          <p:stCondLst>
                                            <p:cond delay="0"/>
                                          </p:stCondLst>
                                        </p:cTn>
                                        <p:tgtEl>
                                          <p:spTgt spid="5"/>
                                        </p:tgtEl>
                                        <p:attrNameLst>
                                          <p:attrName>style.visibility</p:attrName>
                                        </p:attrNameLst>
                                      </p:cBhvr>
                                      <p:to>
                                        <p:strVal val="visible"/>
                                      </p:to>
                                    </p:set>
                                    <p:animEffect transition="in" filter="wipe(right)">
                                      <p:cBhvr>
                                        <p:cTn id="25" dur="500"/>
                                        <p:tgtEl>
                                          <p:spTgt spid="5"/>
                                        </p:tgtEl>
                                      </p:cBhvr>
                                    </p:animEffect>
                                  </p:childTnLst>
                                </p:cTn>
                              </p:par>
                            </p:childTnLst>
                          </p:cTn>
                        </p:par>
                        <p:par>
                          <p:cTn id="26" fill="hold">
                            <p:stCondLst>
                              <p:cond delay="1000"/>
                            </p:stCondLst>
                            <p:childTnLst>
                              <p:par>
                                <p:cTn id="27" presetID="22" presetClass="entr" presetSubtype="8" fill="hold" grpId="0"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wipe(left)">
                                      <p:cBhvr>
                                        <p:cTn id="29" dur="500"/>
                                        <p:tgtEl>
                                          <p:spTgt spid="13"/>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wipe(left)">
                                      <p:cBhvr>
                                        <p:cTn id="32" dur="500"/>
                                        <p:tgtEl>
                                          <p:spTgt spid="14"/>
                                        </p:tgtEl>
                                      </p:cBhvr>
                                    </p:animEffect>
                                  </p:childTnLst>
                                </p:cTn>
                              </p:par>
                              <p:par>
                                <p:cTn id="33" presetID="22" presetClass="entr" presetSubtype="2"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animEffect transition="in" filter="wipe(right)">
                                      <p:cBhvr>
                                        <p:cTn id="35" dur="500"/>
                                        <p:tgtEl>
                                          <p:spTgt spid="16"/>
                                        </p:tgtEl>
                                      </p:cBhvr>
                                    </p:animEffect>
                                  </p:childTnLst>
                                </p:cTn>
                              </p:par>
                              <p:par>
                                <p:cTn id="36" presetID="22" presetClass="entr" presetSubtype="2" fill="hold" grpId="0" nodeType="with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right)">
                                      <p:cBhvr>
                                        <p:cTn id="38" dur="500"/>
                                        <p:tgtEl>
                                          <p:spTgt spid="15"/>
                                        </p:tgtEl>
                                      </p:cBhvr>
                                    </p:animEffect>
                                  </p:childTnLst>
                                </p:cTn>
                              </p:par>
                              <p:par>
                                <p:cTn id="39" presetID="22" presetClass="entr" presetSubtype="4" fill="hold" grpId="0" nodeType="withEffect">
                                  <p:stCondLst>
                                    <p:cond delay="0"/>
                                  </p:stCondLst>
                                  <p:childTnLst>
                                    <p:set>
                                      <p:cBhvr>
                                        <p:cTn id="40" dur="1" fill="hold">
                                          <p:stCondLst>
                                            <p:cond delay="0"/>
                                          </p:stCondLst>
                                        </p:cTn>
                                        <p:tgtEl>
                                          <p:spTgt spid="12"/>
                                        </p:tgtEl>
                                        <p:attrNameLst>
                                          <p:attrName>style.visibility</p:attrName>
                                        </p:attrNameLst>
                                      </p:cBhvr>
                                      <p:to>
                                        <p:strVal val="visible"/>
                                      </p:to>
                                    </p:set>
                                    <p:animEffect transition="in" filter="wipe(down)">
                                      <p:cBhvr>
                                        <p:cTn id="4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12" grpId="0"/>
      <p:bldP spid="13" grpId="0"/>
      <p:bldP spid="14" grpId="0"/>
      <p:bldP spid="15" grpId="0"/>
      <p:bldP spid="1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grpSp>
        <p:nvGrpSpPr>
          <p:cNvPr id="4" name="组合 3"/>
          <p:cNvGrpSpPr/>
          <p:nvPr/>
        </p:nvGrpSpPr>
        <p:grpSpPr>
          <a:xfrm>
            <a:off x="1259632" y="1207534"/>
            <a:ext cx="3498223" cy="470019"/>
            <a:chOff x="161608" y="1701214"/>
            <a:chExt cx="4609821" cy="619372"/>
          </a:xfrm>
          <a:solidFill>
            <a:srgbClr val="DB7F06"/>
          </a:solidFill>
        </p:grpSpPr>
        <p:sp>
          <p:nvSpPr>
            <p:cNvPr id="5" name="TextBox 4"/>
            <p:cNvSpPr txBox="1"/>
            <p:nvPr>
              <p:custDataLst>
                <p:tags r:id="rId19"/>
              </p:custDataLst>
            </p:nvPr>
          </p:nvSpPr>
          <p:spPr>
            <a:xfrm>
              <a:off x="161608" y="1701214"/>
              <a:ext cx="4609821" cy="619372"/>
            </a:xfrm>
            <a:prstGeom prst="rect">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000" dirty="0">
                <a:ln>
                  <a:solidFill>
                    <a:schemeClr val="tx1">
                      <a:alpha val="99000"/>
                    </a:schemeClr>
                  </a:solidFill>
                </a:ln>
                <a:gradFill>
                  <a:gsLst>
                    <a:gs pos="0">
                      <a:srgbClr val="FFFFFF"/>
                    </a:gs>
                    <a:gs pos="100000">
                      <a:srgbClr val="FFFFFF"/>
                    </a:gs>
                  </a:gsLst>
                  <a:lin ang="5400000" scaled="0"/>
                </a:gradFill>
              </a:endParaRPr>
            </a:p>
          </p:txBody>
        </p:sp>
        <p:sp>
          <p:nvSpPr>
            <p:cNvPr id="6" name="TextBox 5"/>
            <p:cNvSpPr txBox="1"/>
            <p:nvPr>
              <p:custDataLst>
                <p:tags r:id="rId20"/>
              </p:custDataLst>
            </p:nvPr>
          </p:nvSpPr>
          <p:spPr>
            <a:xfrm>
              <a:off x="478469" y="1772179"/>
              <a:ext cx="3976097" cy="489137"/>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dirty="0"/>
            </a:p>
          </p:txBody>
        </p:sp>
      </p:grpSp>
      <p:grpSp>
        <p:nvGrpSpPr>
          <p:cNvPr id="7" name="组合 6"/>
          <p:cNvGrpSpPr/>
          <p:nvPr/>
        </p:nvGrpSpPr>
        <p:grpSpPr>
          <a:xfrm>
            <a:off x="1710372" y="1767648"/>
            <a:ext cx="1134380" cy="1285669"/>
            <a:chOff x="755576" y="2439310"/>
            <a:chExt cx="1494841" cy="1694204"/>
          </a:xfrm>
          <a:solidFill>
            <a:srgbClr val="709020"/>
          </a:solidFill>
        </p:grpSpPr>
        <p:grpSp>
          <p:nvGrpSpPr>
            <p:cNvPr id="8" name="组合 7"/>
            <p:cNvGrpSpPr/>
            <p:nvPr/>
          </p:nvGrpSpPr>
          <p:grpSpPr>
            <a:xfrm>
              <a:off x="755576" y="2439310"/>
              <a:ext cx="1494841" cy="1694204"/>
              <a:chOff x="755576" y="2439310"/>
              <a:chExt cx="1494841" cy="1694204"/>
            </a:xfrm>
            <a:grpFill/>
          </p:grpSpPr>
          <p:sp>
            <p:nvSpPr>
              <p:cNvPr id="10" name="Right Triangle 40"/>
              <p:cNvSpPr/>
              <p:nvPr>
                <p:custDataLst>
                  <p:tags r:id="rId17"/>
                </p:custDataLst>
              </p:nvPr>
            </p:nvSpPr>
            <p:spPr bwMode="auto">
              <a:xfrm rot="10800000" flipV="1">
                <a:off x="1344297" y="2439310"/>
                <a:ext cx="451948" cy="649688"/>
              </a:xfrm>
              <a:prstGeom prst="rtTriangle">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1" name="Rectangle 47"/>
              <p:cNvSpPr/>
              <p:nvPr>
                <p:custDataLst>
                  <p:tags r:id="rId18"/>
                </p:custDataLst>
              </p:nvPr>
            </p:nvSpPr>
            <p:spPr bwMode="auto">
              <a:xfrm>
                <a:off x="755576" y="3088998"/>
                <a:ext cx="1494841" cy="1044516"/>
              </a:xfrm>
              <a:prstGeom prst="rect">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
          <p:nvSpPr>
            <p:cNvPr id="9" name="TextBox 8"/>
            <p:cNvSpPr txBox="1"/>
            <p:nvPr>
              <p:custDataLst>
                <p:tags r:id="rId16"/>
              </p:custDataLst>
            </p:nvPr>
          </p:nvSpPr>
          <p:spPr>
            <a:xfrm>
              <a:off x="1209747" y="3187828"/>
              <a:ext cx="586498" cy="897158"/>
            </a:xfrm>
            <a:prstGeom prst="rect">
              <a:avLst/>
            </a:prstGeom>
            <a:noFill/>
          </p:spPr>
          <p:txBody>
            <a:bodyPr wrap="square" lIns="93278" tIns="93278" rIns="93278" bIns="93278" rtlCol="0">
              <a:spAutoFit/>
            </a:bodyPr>
            <a:lstStyle/>
            <a:p>
              <a:pPr algn="ctr">
                <a:buSzPct val="90000"/>
              </a:pPr>
              <a:r>
                <a:rPr lang="en-US" sz="3200" dirty="0">
                  <a:gradFill>
                    <a:gsLst>
                      <a:gs pos="0">
                        <a:srgbClr val="FFFFFF"/>
                      </a:gs>
                      <a:gs pos="100000">
                        <a:srgbClr val="FFFFFF"/>
                      </a:gs>
                    </a:gsLst>
                    <a:lin ang="5400000" scaled="0"/>
                  </a:gradFill>
                </a:rPr>
                <a:t>1</a:t>
              </a:r>
            </a:p>
          </p:txBody>
        </p:sp>
      </p:grpSp>
      <p:grpSp>
        <p:nvGrpSpPr>
          <p:cNvPr id="12" name="组合 11"/>
          <p:cNvGrpSpPr/>
          <p:nvPr/>
        </p:nvGrpSpPr>
        <p:grpSpPr>
          <a:xfrm>
            <a:off x="4791334" y="1203598"/>
            <a:ext cx="3381066" cy="470019"/>
            <a:chOff x="4815546" y="1696027"/>
            <a:chExt cx="4455437" cy="619372"/>
          </a:xfrm>
          <a:solidFill>
            <a:srgbClr val="DB7F06"/>
          </a:solidFill>
        </p:grpSpPr>
        <p:sp>
          <p:nvSpPr>
            <p:cNvPr id="13" name="TextBox 12"/>
            <p:cNvSpPr txBox="1"/>
            <p:nvPr>
              <p:custDataLst>
                <p:tags r:id="rId14"/>
              </p:custDataLst>
            </p:nvPr>
          </p:nvSpPr>
          <p:spPr>
            <a:xfrm>
              <a:off x="4815546" y="1696027"/>
              <a:ext cx="4455437" cy="619372"/>
            </a:xfrm>
            <a:prstGeom prst="rect">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rgbClr val="FFFFFF">
                      <a:alpha val="98824"/>
                    </a:srgb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000" dirty="0">
                <a:ln>
                  <a:solidFill>
                    <a:schemeClr val="tx1">
                      <a:alpha val="99000"/>
                    </a:schemeClr>
                  </a:solidFill>
                </a:ln>
                <a:gradFill>
                  <a:gsLst>
                    <a:gs pos="0">
                      <a:srgbClr val="FFFFFF"/>
                    </a:gs>
                    <a:gs pos="100000">
                      <a:srgbClr val="FFFFFF"/>
                    </a:gs>
                  </a:gsLst>
                  <a:lin ang="5400000" scaled="0"/>
                </a:gradFill>
              </a:endParaRPr>
            </a:p>
          </p:txBody>
        </p:sp>
        <p:sp>
          <p:nvSpPr>
            <p:cNvPr id="14" name="TextBox 13"/>
            <p:cNvSpPr txBox="1"/>
            <p:nvPr>
              <p:custDataLst>
                <p:tags r:id="rId15"/>
              </p:custDataLst>
            </p:nvPr>
          </p:nvSpPr>
          <p:spPr>
            <a:xfrm>
              <a:off x="4860032" y="1765995"/>
              <a:ext cx="3976097" cy="489137"/>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15" name="组合 14"/>
          <p:cNvGrpSpPr/>
          <p:nvPr/>
        </p:nvGrpSpPr>
        <p:grpSpPr>
          <a:xfrm>
            <a:off x="4860141" y="1767648"/>
            <a:ext cx="1477635" cy="1285669"/>
            <a:chOff x="4906217" y="2439310"/>
            <a:chExt cx="1947170" cy="1694204"/>
          </a:xfrm>
          <a:solidFill>
            <a:srgbClr val="709020"/>
          </a:solidFill>
        </p:grpSpPr>
        <p:sp>
          <p:nvSpPr>
            <p:cNvPr id="16" name="Rectangle 48"/>
            <p:cNvSpPr/>
            <p:nvPr>
              <p:custDataLst>
                <p:tags r:id="rId11"/>
              </p:custDataLst>
            </p:nvPr>
          </p:nvSpPr>
          <p:spPr bwMode="auto">
            <a:xfrm>
              <a:off x="4906217" y="3088998"/>
              <a:ext cx="1947170" cy="1044516"/>
            </a:xfrm>
            <a:prstGeom prst="rect">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17" name="TextBox 16"/>
            <p:cNvSpPr txBox="1"/>
            <p:nvPr>
              <p:custDataLst>
                <p:tags r:id="rId12"/>
              </p:custDataLst>
            </p:nvPr>
          </p:nvSpPr>
          <p:spPr>
            <a:xfrm>
              <a:off x="5586553" y="3165395"/>
              <a:ext cx="586499" cy="897158"/>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3</a:t>
              </a:r>
            </a:p>
          </p:txBody>
        </p:sp>
        <p:sp>
          <p:nvSpPr>
            <p:cNvPr id="18" name="Right Triangle 59"/>
            <p:cNvSpPr/>
            <p:nvPr>
              <p:custDataLst>
                <p:tags r:id="rId13"/>
              </p:custDataLst>
            </p:nvPr>
          </p:nvSpPr>
          <p:spPr bwMode="auto">
            <a:xfrm rot="10800000" flipV="1">
              <a:off x="6228535" y="2439310"/>
              <a:ext cx="451948" cy="649688"/>
            </a:xfrm>
            <a:prstGeom prst="rtTriangle">
              <a:avLst/>
            </a:prstGeom>
            <a:solidFill>
              <a:schemeClr val="bg1">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19" name="组合 18"/>
          <p:cNvGrpSpPr/>
          <p:nvPr/>
        </p:nvGrpSpPr>
        <p:grpSpPr>
          <a:xfrm>
            <a:off x="1259632" y="3633351"/>
            <a:ext cx="3498223" cy="470019"/>
            <a:chOff x="161608" y="4897860"/>
            <a:chExt cx="4609821" cy="619372"/>
          </a:xfrm>
          <a:solidFill>
            <a:srgbClr val="8AB027"/>
          </a:solidFill>
        </p:grpSpPr>
        <p:sp>
          <p:nvSpPr>
            <p:cNvPr id="20" name="TextBox 19"/>
            <p:cNvSpPr txBox="1"/>
            <p:nvPr>
              <p:custDataLst>
                <p:tags r:id="rId9"/>
              </p:custDataLst>
            </p:nvPr>
          </p:nvSpPr>
          <p:spPr>
            <a:xfrm>
              <a:off x="161608" y="4897860"/>
              <a:ext cx="4609821"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000" dirty="0">
                <a:ln>
                  <a:solidFill>
                    <a:schemeClr val="tx1">
                      <a:alpha val="99000"/>
                    </a:schemeClr>
                  </a:solidFill>
                </a:ln>
                <a:gradFill>
                  <a:gsLst>
                    <a:gs pos="0">
                      <a:srgbClr val="FFFFFF"/>
                    </a:gs>
                    <a:gs pos="100000">
                      <a:srgbClr val="FFFFFF"/>
                    </a:gs>
                  </a:gsLst>
                  <a:lin ang="5400000" scaled="0"/>
                </a:gradFill>
              </a:endParaRPr>
            </a:p>
          </p:txBody>
        </p:sp>
        <p:sp>
          <p:nvSpPr>
            <p:cNvPr id="21" name="TextBox 20"/>
            <p:cNvSpPr txBox="1"/>
            <p:nvPr>
              <p:custDataLst>
                <p:tags r:id="rId10"/>
              </p:custDataLst>
            </p:nvPr>
          </p:nvSpPr>
          <p:spPr>
            <a:xfrm>
              <a:off x="478469" y="4968292"/>
              <a:ext cx="3976097" cy="489137"/>
            </a:xfrm>
            <a:prstGeom prst="rect">
              <a:avLst/>
            </a:prstGeom>
            <a:noFill/>
          </p:spPr>
          <p:txBody>
            <a:bodyPr wrap="square" lIns="93278" tIns="46639" rIns="93278" bIns="46639" rtlCol="0">
              <a:spAutoFit/>
            </a:bodyPr>
            <a:lstStyle/>
            <a:p>
              <a:pPr algn="ctr">
                <a:buSzPct val="90000"/>
              </a:pPr>
              <a:r>
                <a:rPr lang="zh-CN" altLang="en-US" dirty="0">
                  <a:gradFill>
                    <a:gsLst>
                      <a:gs pos="0">
                        <a:srgbClr val="FFFFFF"/>
                      </a:gs>
                      <a:gs pos="100000">
                        <a:srgbClr val="FFFFFF"/>
                      </a:gs>
                    </a:gsLst>
                    <a:lin ang="5400000" scaled="0"/>
                  </a:gradFill>
                </a:rPr>
                <a:t>单击此处添加文本</a:t>
              </a:r>
              <a:endParaRPr lang="en-US" altLang="zh-CN" dirty="0">
                <a:gradFill>
                  <a:gsLst>
                    <a:gs pos="0">
                      <a:srgbClr val="FFFFFF"/>
                    </a:gs>
                    <a:gs pos="100000">
                      <a:srgbClr val="FFFFFF"/>
                    </a:gs>
                  </a:gsLst>
                  <a:lin ang="5400000" scaled="0"/>
                </a:gradFill>
              </a:endParaRPr>
            </a:p>
          </p:txBody>
        </p:sp>
      </p:grpSp>
      <p:grpSp>
        <p:nvGrpSpPr>
          <p:cNvPr id="22" name="组合 21"/>
          <p:cNvGrpSpPr/>
          <p:nvPr/>
        </p:nvGrpSpPr>
        <p:grpSpPr>
          <a:xfrm>
            <a:off x="2899447" y="2260672"/>
            <a:ext cx="1905998" cy="1285669"/>
            <a:chOff x="2322492" y="3088998"/>
            <a:chExt cx="2511649" cy="1694204"/>
          </a:xfrm>
          <a:solidFill>
            <a:srgbClr val="8AB027"/>
          </a:solidFill>
        </p:grpSpPr>
        <p:grpSp>
          <p:nvGrpSpPr>
            <p:cNvPr id="23" name="组合 22"/>
            <p:cNvGrpSpPr/>
            <p:nvPr/>
          </p:nvGrpSpPr>
          <p:grpSpPr>
            <a:xfrm>
              <a:off x="2322492" y="3088998"/>
              <a:ext cx="2511649" cy="1044516"/>
              <a:chOff x="2322492" y="3088998"/>
              <a:chExt cx="2511649" cy="1044516"/>
            </a:xfrm>
            <a:grpFill/>
          </p:grpSpPr>
          <p:sp>
            <p:nvSpPr>
              <p:cNvPr id="25" name="Rectangle 50"/>
              <p:cNvSpPr/>
              <p:nvPr>
                <p:custDataLst>
                  <p:tags r:id="rId7"/>
                </p:custDataLst>
              </p:nvPr>
            </p:nvSpPr>
            <p:spPr bwMode="auto">
              <a:xfrm>
                <a:off x="2322492" y="3088998"/>
                <a:ext cx="2511649"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26" name="TextBox 25"/>
              <p:cNvSpPr txBox="1"/>
              <p:nvPr>
                <p:custDataLst>
                  <p:tags r:id="rId8"/>
                </p:custDataLst>
              </p:nvPr>
            </p:nvSpPr>
            <p:spPr>
              <a:xfrm>
                <a:off x="3285069" y="3165395"/>
                <a:ext cx="586498" cy="897158"/>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2</a:t>
                </a:r>
              </a:p>
            </p:txBody>
          </p:sp>
        </p:grpSp>
        <p:sp>
          <p:nvSpPr>
            <p:cNvPr id="24" name="Right Triangle 60"/>
            <p:cNvSpPr/>
            <p:nvPr>
              <p:custDataLst>
                <p:tags r:id="rId6"/>
              </p:custDataLst>
            </p:nvPr>
          </p:nvSpPr>
          <p:spPr bwMode="auto">
            <a:xfrm flipV="1">
              <a:off x="3285067" y="4133514"/>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grpSp>
        <p:nvGrpSpPr>
          <p:cNvPr id="27" name="组合 26"/>
          <p:cNvGrpSpPr/>
          <p:nvPr/>
        </p:nvGrpSpPr>
        <p:grpSpPr>
          <a:xfrm>
            <a:off x="4791334" y="3633351"/>
            <a:ext cx="3381066" cy="470019"/>
            <a:chOff x="4815546" y="4897860"/>
            <a:chExt cx="4455437" cy="619372"/>
          </a:xfrm>
          <a:solidFill>
            <a:srgbClr val="8AB027"/>
          </a:solidFill>
        </p:grpSpPr>
        <p:sp>
          <p:nvSpPr>
            <p:cNvPr id="28" name="TextBox 27"/>
            <p:cNvSpPr txBox="1"/>
            <p:nvPr>
              <p:custDataLst>
                <p:tags r:id="rId4"/>
              </p:custDataLst>
            </p:nvPr>
          </p:nvSpPr>
          <p:spPr>
            <a:xfrm>
              <a:off x="4815546" y="4897860"/>
              <a:ext cx="4455437" cy="619372"/>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defPPr>
                <a:defRPr lang="en-US"/>
              </a:defPPr>
              <a:lvl1pPr algn="ctr" defTabSz="914400">
                <a:defRPr sz="2200">
                  <a:solidFill>
                    <a:schemeClr val="tx1">
                      <a:lumMod val="20000"/>
                      <a:lumOff val="80000"/>
                      <a:alpha val="99000"/>
                    </a:schemeClr>
                  </a:solidFill>
                  <a:latin typeface="Segoe UI" panose="020B0502040204020203" pitchFamily="34" charset="0"/>
                  <a:ea typeface="Segoe UI" panose="020B0502040204020203" pitchFamily="34" charset="0"/>
                  <a:cs typeface="Segoe UI" panose="020B0502040204020203" pitchFamily="34" charset="0"/>
                </a:defRPr>
              </a:lvl1pPr>
            </a:lstStyle>
            <a:p>
              <a:endParaRPr lang="en-US" sz="2000" dirty="0">
                <a:ln>
                  <a:solidFill>
                    <a:schemeClr val="tx1">
                      <a:alpha val="99000"/>
                    </a:schemeClr>
                  </a:solidFill>
                </a:ln>
                <a:gradFill>
                  <a:gsLst>
                    <a:gs pos="0">
                      <a:srgbClr val="FFFFFF"/>
                    </a:gs>
                    <a:gs pos="100000">
                      <a:srgbClr val="FFFFFF"/>
                    </a:gs>
                  </a:gsLst>
                  <a:lin ang="5400000" scaled="0"/>
                </a:gradFill>
              </a:endParaRPr>
            </a:p>
          </p:txBody>
        </p:sp>
        <p:sp>
          <p:nvSpPr>
            <p:cNvPr id="29" name="TextBox 28"/>
            <p:cNvSpPr txBox="1"/>
            <p:nvPr>
              <p:custDataLst>
                <p:tags r:id="rId5"/>
              </p:custDataLst>
            </p:nvPr>
          </p:nvSpPr>
          <p:spPr>
            <a:xfrm>
              <a:off x="4932040" y="4968292"/>
              <a:ext cx="3976097" cy="489137"/>
            </a:xfrm>
            <a:prstGeom prst="rect">
              <a:avLst/>
            </a:prstGeom>
            <a:noFill/>
          </p:spPr>
          <p:txBody>
            <a:bodyPr wrap="square" lIns="93278" tIns="46639" rIns="93278" bIns="46639" rtlCol="0">
              <a:spAutoFit/>
            </a:bodyPr>
            <a:lstStyle>
              <a:defPPr>
                <a:defRPr lang="zh-CN"/>
              </a:defPPr>
              <a:lvl1pPr algn="ctr">
                <a:buSzPct val="90000"/>
                <a:defRPr>
                  <a:gradFill>
                    <a:gsLst>
                      <a:gs pos="0">
                        <a:srgbClr val="FFFFFF"/>
                      </a:gs>
                      <a:gs pos="100000">
                        <a:srgbClr val="FFFFFF"/>
                      </a:gs>
                    </a:gsLst>
                    <a:lin ang="5400000" scaled="0"/>
                  </a:gradFill>
                </a:defRPr>
              </a:lvl1pPr>
            </a:lstStyle>
            <a:p>
              <a:r>
                <a:rPr lang="zh-CN" altLang="en-US" dirty="0"/>
                <a:t>单击此处添加文本</a:t>
              </a:r>
              <a:endParaRPr lang="en-US" altLang="zh-CN" dirty="0"/>
            </a:p>
          </p:txBody>
        </p:sp>
      </p:grpSp>
      <p:grpSp>
        <p:nvGrpSpPr>
          <p:cNvPr id="30" name="组合 29"/>
          <p:cNvGrpSpPr/>
          <p:nvPr/>
        </p:nvGrpSpPr>
        <p:grpSpPr>
          <a:xfrm>
            <a:off x="6447064" y="2263426"/>
            <a:ext cx="1134380" cy="1282915"/>
            <a:chOff x="6997403" y="3092627"/>
            <a:chExt cx="1494841" cy="1690575"/>
          </a:xfrm>
          <a:solidFill>
            <a:srgbClr val="8AB027"/>
          </a:solidFill>
        </p:grpSpPr>
        <p:sp>
          <p:nvSpPr>
            <p:cNvPr id="31" name="Rectangle 51"/>
            <p:cNvSpPr/>
            <p:nvPr>
              <p:custDataLst>
                <p:tags r:id="rId1"/>
              </p:custDataLst>
            </p:nvPr>
          </p:nvSpPr>
          <p:spPr bwMode="auto">
            <a:xfrm>
              <a:off x="6997403" y="3092627"/>
              <a:ext cx="1494841" cy="10445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sp>
          <p:nvSpPr>
            <p:cNvPr id="32" name="TextBox 31"/>
            <p:cNvSpPr txBox="1"/>
            <p:nvPr>
              <p:custDataLst>
                <p:tags r:id="rId2"/>
              </p:custDataLst>
            </p:nvPr>
          </p:nvSpPr>
          <p:spPr>
            <a:xfrm>
              <a:off x="7451574" y="3165395"/>
              <a:ext cx="586498" cy="897158"/>
            </a:xfrm>
            <a:prstGeom prst="rect">
              <a:avLst/>
            </a:prstGeom>
            <a:noFill/>
          </p:spPr>
          <p:txBody>
            <a:bodyPr wrap="square" lIns="93278" tIns="93278" rIns="93278" bIns="93278" rtlCol="0">
              <a:spAutoFit/>
            </a:bodyPr>
            <a:lstStyle>
              <a:defPPr>
                <a:defRPr lang="zh-CN"/>
              </a:defPPr>
              <a:lvl1pPr algn="ctr">
                <a:buSzPct val="90000"/>
                <a:defRPr sz="3200">
                  <a:gradFill>
                    <a:gsLst>
                      <a:gs pos="0">
                        <a:srgbClr val="FFFFFF"/>
                      </a:gs>
                      <a:gs pos="100000">
                        <a:srgbClr val="FFFFFF"/>
                      </a:gs>
                    </a:gsLst>
                    <a:lin ang="5400000" scaled="0"/>
                  </a:gradFill>
                </a:defRPr>
              </a:lvl1pPr>
            </a:lstStyle>
            <a:p>
              <a:r>
                <a:rPr lang="en-US" dirty="0"/>
                <a:t>4</a:t>
              </a:r>
            </a:p>
          </p:txBody>
        </p:sp>
        <p:sp>
          <p:nvSpPr>
            <p:cNvPr id="33" name="Right Triangle 61"/>
            <p:cNvSpPr/>
            <p:nvPr>
              <p:custDataLst>
                <p:tags r:id="rId3"/>
              </p:custDataLst>
            </p:nvPr>
          </p:nvSpPr>
          <p:spPr bwMode="auto">
            <a:xfrm flipV="1">
              <a:off x="7629668" y="4133514"/>
              <a:ext cx="451948" cy="649688"/>
            </a:xfrm>
            <a:prstGeom prst="rtTriangle">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3274" tIns="46637" rIns="93274" bIns="46637" numCol="1" rtlCol="0" anchor="ctr" anchorCtr="0" compatLnSpc="1"/>
            <a:lstStyle/>
            <a:p>
              <a:pPr algn="ctr" defTabSz="932180"/>
              <a:endParaRPr lang="en-US" sz="2000" dirty="0">
                <a:ln>
                  <a:solidFill>
                    <a:schemeClr val="tx1">
                      <a:alpha val="99000"/>
                    </a:schemeClr>
                  </a:solidFill>
                </a:ln>
                <a:gradFill>
                  <a:gsLst>
                    <a:gs pos="0">
                      <a:srgbClr val="FFFFFF"/>
                    </a:gs>
                    <a:gs pos="100000">
                      <a:srgbClr val="FFFFFF"/>
                    </a:gs>
                  </a:gsLst>
                  <a:lin ang="5400000" scaled="0"/>
                </a:gradFill>
                <a:latin typeface="Segoe UI" panose="020B0502040204020203" pitchFamily="34" charset="0"/>
                <a:ea typeface="Segoe UI" panose="020B0502040204020203" pitchFamily="34" charset="0"/>
                <a:cs typeface="Segoe UI" panose="020B0502040204020203" pitchFamily="34" charset="0"/>
              </a:endParaRPr>
            </a:p>
          </p:txBody>
        </p:sp>
      </p:grpSp>
    </p:spTree>
  </p:cSld>
  <p:clrMapOvr>
    <a:masterClrMapping/>
  </p:clrMapOvr>
  <p:transition spd="slow" advTm="30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down)">
                                      <p:cBhvr>
                                        <p:cTn id="7" dur="500"/>
                                        <p:tgtEl>
                                          <p:spTgt spid="7"/>
                                        </p:tgtEl>
                                      </p:cBhvr>
                                    </p:animEffect>
                                  </p:childTnLst>
                                </p:cTn>
                              </p:par>
                              <p:par>
                                <p:cTn id="8" presetID="22" presetClass="entr" presetSubtype="4" fill="hold" nodeType="with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500"/>
                                        <p:tgtEl>
                                          <p:spTgt spid="4"/>
                                        </p:tgtEl>
                                      </p:cBhvr>
                                    </p:animEffect>
                                  </p:childTnLst>
                                </p:cTn>
                              </p:par>
                              <p:par>
                                <p:cTn id="11" presetID="22" presetClass="entr" presetSubtype="1" fill="hold" nodeType="withEffect">
                                  <p:stCondLst>
                                    <p:cond delay="300"/>
                                  </p:stCondLst>
                                  <p:childTnLst>
                                    <p:set>
                                      <p:cBhvr>
                                        <p:cTn id="12" dur="1" fill="hold">
                                          <p:stCondLst>
                                            <p:cond delay="0"/>
                                          </p:stCondLst>
                                        </p:cTn>
                                        <p:tgtEl>
                                          <p:spTgt spid="22"/>
                                        </p:tgtEl>
                                        <p:attrNameLst>
                                          <p:attrName>style.visibility</p:attrName>
                                        </p:attrNameLst>
                                      </p:cBhvr>
                                      <p:to>
                                        <p:strVal val="visible"/>
                                      </p:to>
                                    </p:set>
                                    <p:animEffect transition="in" filter="wipe(up)">
                                      <p:cBhvr>
                                        <p:cTn id="13" dur="500"/>
                                        <p:tgtEl>
                                          <p:spTgt spid="22"/>
                                        </p:tgtEl>
                                      </p:cBhvr>
                                    </p:animEffect>
                                  </p:childTnLst>
                                </p:cTn>
                              </p:par>
                              <p:par>
                                <p:cTn id="14" presetID="22" presetClass="entr" presetSubtype="1" fill="hold" nodeType="withEffect">
                                  <p:stCondLst>
                                    <p:cond delay="500"/>
                                  </p:stCondLst>
                                  <p:childTnLst>
                                    <p:set>
                                      <p:cBhvr>
                                        <p:cTn id="15" dur="1" fill="hold">
                                          <p:stCondLst>
                                            <p:cond delay="0"/>
                                          </p:stCondLst>
                                        </p:cTn>
                                        <p:tgtEl>
                                          <p:spTgt spid="19"/>
                                        </p:tgtEl>
                                        <p:attrNameLst>
                                          <p:attrName>style.visibility</p:attrName>
                                        </p:attrNameLst>
                                      </p:cBhvr>
                                      <p:to>
                                        <p:strVal val="visible"/>
                                      </p:to>
                                    </p:set>
                                    <p:animEffect transition="in" filter="wipe(up)">
                                      <p:cBhvr>
                                        <p:cTn id="16" dur="500"/>
                                        <p:tgtEl>
                                          <p:spTgt spid="19"/>
                                        </p:tgtEl>
                                      </p:cBhvr>
                                    </p:animEffect>
                                  </p:childTnLst>
                                </p:cTn>
                              </p:par>
                              <p:par>
                                <p:cTn id="17" presetID="22" presetClass="entr" presetSubtype="4" fill="hold" nodeType="withEffect">
                                  <p:stCondLst>
                                    <p:cond delay="60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par>
                                <p:cTn id="20" presetID="22" presetClass="entr" presetSubtype="4" fill="hold" nodeType="withEffect">
                                  <p:stCondLst>
                                    <p:cond delay="700"/>
                                  </p:stCondLst>
                                  <p:childTnLst>
                                    <p:set>
                                      <p:cBhvr>
                                        <p:cTn id="21" dur="1" fill="hold">
                                          <p:stCondLst>
                                            <p:cond delay="0"/>
                                          </p:stCondLst>
                                        </p:cTn>
                                        <p:tgtEl>
                                          <p:spTgt spid="12"/>
                                        </p:tgtEl>
                                        <p:attrNameLst>
                                          <p:attrName>style.visibility</p:attrName>
                                        </p:attrNameLst>
                                      </p:cBhvr>
                                      <p:to>
                                        <p:strVal val="visible"/>
                                      </p:to>
                                    </p:set>
                                    <p:animEffect transition="in" filter="wipe(down)">
                                      <p:cBhvr>
                                        <p:cTn id="22" dur="500"/>
                                        <p:tgtEl>
                                          <p:spTgt spid="12"/>
                                        </p:tgtEl>
                                      </p:cBhvr>
                                    </p:animEffect>
                                  </p:childTnLst>
                                </p:cTn>
                              </p:par>
                              <p:par>
                                <p:cTn id="23" presetID="22" presetClass="entr" presetSubtype="1" fill="hold" nodeType="withEffect">
                                  <p:stCondLst>
                                    <p:cond delay="700"/>
                                  </p:stCondLst>
                                  <p:childTnLst>
                                    <p:set>
                                      <p:cBhvr>
                                        <p:cTn id="24" dur="1" fill="hold">
                                          <p:stCondLst>
                                            <p:cond delay="0"/>
                                          </p:stCondLst>
                                        </p:cTn>
                                        <p:tgtEl>
                                          <p:spTgt spid="30"/>
                                        </p:tgtEl>
                                        <p:attrNameLst>
                                          <p:attrName>style.visibility</p:attrName>
                                        </p:attrNameLst>
                                      </p:cBhvr>
                                      <p:to>
                                        <p:strVal val="visible"/>
                                      </p:to>
                                    </p:set>
                                    <p:animEffect transition="in" filter="wipe(up)">
                                      <p:cBhvr>
                                        <p:cTn id="25" dur="500"/>
                                        <p:tgtEl>
                                          <p:spTgt spid="30"/>
                                        </p:tgtEl>
                                      </p:cBhvr>
                                    </p:animEffect>
                                  </p:childTnLst>
                                </p:cTn>
                              </p:par>
                              <p:par>
                                <p:cTn id="26" presetID="22" presetClass="entr" presetSubtype="1" fill="hold" nodeType="withEffect">
                                  <p:stCondLst>
                                    <p:cond delay="900"/>
                                  </p:stCondLst>
                                  <p:childTnLst>
                                    <p:set>
                                      <p:cBhvr>
                                        <p:cTn id="27" dur="1" fill="hold">
                                          <p:stCondLst>
                                            <p:cond delay="0"/>
                                          </p:stCondLst>
                                        </p:cTn>
                                        <p:tgtEl>
                                          <p:spTgt spid="27"/>
                                        </p:tgtEl>
                                        <p:attrNameLst>
                                          <p:attrName>style.visibility</p:attrName>
                                        </p:attrNameLst>
                                      </p:cBhvr>
                                      <p:to>
                                        <p:strVal val="visible"/>
                                      </p:to>
                                    </p:set>
                                    <p:animEffect transition="in" filter="wipe(up)">
                                      <p:cBhvr>
                                        <p:cTn id="28"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grpSp>
        <p:nvGrpSpPr>
          <p:cNvPr id="4" name="组合 3"/>
          <p:cNvGrpSpPr/>
          <p:nvPr/>
        </p:nvGrpSpPr>
        <p:grpSpPr>
          <a:xfrm>
            <a:off x="766629" y="2623829"/>
            <a:ext cx="1296144" cy="2612217"/>
            <a:chOff x="766629" y="3417918"/>
            <a:chExt cx="1296144" cy="2612217"/>
          </a:xfrm>
          <a:solidFill>
            <a:srgbClr val="01B0F1"/>
          </a:solidFill>
        </p:grpSpPr>
        <p:sp>
          <p:nvSpPr>
            <p:cNvPr id="5" name="等腰三角形 4"/>
            <p:cNvSpPr/>
            <p:nvPr/>
          </p:nvSpPr>
          <p:spPr>
            <a:xfrm>
              <a:off x="1284695" y="4673019"/>
              <a:ext cx="260012" cy="231030"/>
            </a:xfrm>
            <a:prstGeom prst="triangle">
              <a:avLst/>
            </a:prstGeom>
            <a:solidFill>
              <a:schemeClr val="tx1">
                <a:lumMod val="65000"/>
                <a:lumOff val="3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椭圆 5"/>
            <p:cNvSpPr/>
            <p:nvPr/>
          </p:nvSpPr>
          <p:spPr bwMode="auto">
            <a:xfrm rot="1267204">
              <a:off x="766629" y="3417918"/>
              <a:ext cx="1296144" cy="1296148"/>
            </a:xfrm>
            <a:prstGeom prst="ellipse">
              <a:avLst/>
            </a:prstGeom>
            <a:solidFill>
              <a:schemeClr val="tx1">
                <a:lumMod val="65000"/>
                <a:lumOff val="3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7" name="直接连接符 6"/>
            <p:cNvCxnSpPr/>
            <p:nvPr/>
          </p:nvCxnSpPr>
          <p:spPr>
            <a:xfrm>
              <a:off x="1410397" y="4904050"/>
              <a:ext cx="0" cy="1126085"/>
            </a:xfrm>
            <a:prstGeom prst="line">
              <a:avLst/>
            </a:prstGeom>
            <a:grpFill/>
            <a:ln w="38100">
              <a:solidFill>
                <a:schemeClr val="tx1">
                  <a:lumMod val="65000"/>
                  <a:lumOff val="35000"/>
                </a:schemeClr>
              </a:solidFill>
            </a:ln>
            <a:effectLst/>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971601" y="3835159"/>
              <a:ext cx="902811" cy="523220"/>
            </a:xfrm>
            <a:prstGeom prst="rect">
              <a:avLst/>
            </a:prstGeom>
            <a:noFill/>
          </p:spPr>
          <p:txBody>
            <a:bodyPr wrap="none">
              <a:spAutoFit/>
            </a:bodyPr>
            <a:lstStyle/>
            <a:p>
              <a:r>
                <a:rPr lang="zh-CN" altLang="en-US" sz="1400" dirty="0">
                  <a:solidFill>
                    <a:schemeClr val="bg1"/>
                  </a:solidFill>
                </a:rPr>
                <a:t>单击此处</a:t>
              </a:r>
              <a:endParaRPr lang="en-US" altLang="zh-CN" sz="1400" dirty="0">
                <a:solidFill>
                  <a:schemeClr val="bg1"/>
                </a:solidFill>
              </a:endParaRPr>
            </a:p>
            <a:p>
              <a:r>
                <a:rPr lang="zh-CN" altLang="en-US" sz="1400" dirty="0">
                  <a:solidFill>
                    <a:schemeClr val="bg1"/>
                  </a:solidFill>
                </a:rPr>
                <a:t>添加标题</a:t>
              </a:r>
            </a:p>
          </p:txBody>
        </p:sp>
      </p:grpSp>
      <p:grpSp>
        <p:nvGrpSpPr>
          <p:cNvPr id="9" name="组合 8"/>
          <p:cNvGrpSpPr/>
          <p:nvPr/>
        </p:nvGrpSpPr>
        <p:grpSpPr>
          <a:xfrm>
            <a:off x="2457728" y="1960699"/>
            <a:ext cx="1296144" cy="3122485"/>
            <a:chOff x="2457728" y="2754788"/>
            <a:chExt cx="1296144" cy="3122485"/>
          </a:xfrm>
          <a:solidFill>
            <a:srgbClr val="01B0F1"/>
          </a:solidFill>
        </p:grpSpPr>
        <p:sp>
          <p:nvSpPr>
            <p:cNvPr id="10" name="等腰三角形 9"/>
            <p:cNvSpPr/>
            <p:nvPr/>
          </p:nvSpPr>
          <p:spPr>
            <a:xfrm>
              <a:off x="2975794" y="4009889"/>
              <a:ext cx="260012" cy="231030"/>
            </a:xfrm>
            <a:prstGeom prst="triangl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椭圆 10"/>
            <p:cNvSpPr/>
            <p:nvPr/>
          </p:nvSpPr>
          <p:spPr bwMode="auto">
            <a:xfrm rot="1267204">
              <a:off x="2457728" y="2754788"/>
              <a:ext cx="1296144" cy="1296148"/>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12" name="直接连接符 11"/>
            <p:cNvCxnSpPr/>
            <p:nvPr/>
          </p:nvCxnSpPr>
          <p:spPr>
            <a:xfrm flipH="1">
              <a:off x="3092222" y="4240919"/>
              <a:ext cx="9274" cy="1636354"/>
            </a:xfrm>
            <a:prstGeom prst="line">
              <a:avLst/>
            </a:prstGeom>
            <a:grpFill/>
            <a:ln w="3810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13" name="矩形 12"/>
            <p:cNvSpPr/>
            <p:nvPr/>
          </p:nvSpPr>
          <p:spPr>
            <a:xfrm>
              <a:off x="2654395" y="3162801"/>
              <a:ext cx="902811" cy="523220"/>
            </a:xfrm>
            <a:prstGeom prst="rect">
              <a:avLst/>
            </a:prstGeom>
            <a:noFill/>
          </p:spPr>
          <p:txBody>
            <a:bodyPr wrap="none">
              <a:spAutoFit/>
            </a:bodyPr>
            <a:lstStyle/>
            <a:p>
              <a:pPr lvl="0"/>
              <a:r>
                <a:rPr lang="zh-CN" altLang="en-US" sz="1400" dirty="0">
                  <a:solidFill>
                    <a:schemeClr val="bg1"/>
                  </a:solidFill>
                </a:rPr>
                <a:t>单击此处</a:t>
              </a:r>
              <a:endParaRPr lang="en-US" altLang="zh-CN" sz="1400" dirty="0">
                <a:solidFill>
                  <a:schemeClr val="bg1"/>
                </a:solidFill>
              </a:endParaRPr>
            </a:p>
            <a:p>
              <a:pPr lvl="0"/>
              <a:r>
                <a:rPr lang="zh-CN" altLang="en-US" sz="1400" dirty="0">
                  <a:solidFill>
                    <a:schemeClr val="bg1"/>
                  </a:solidFill>
                </a:rPr>
                <a:t>添加标题</a:t>
              </a:r>
            </a:p>
          </p:txBody>
        </p:sp>
      </p:grpSp>
      <p:grpSp>
        <p:nvGrpSpPr>
          <p:cNvPr id="14" name="组合 13"/>
          <p:cNvGrpSpPr/>
          <p:nvPr/>
        </p:nvGrpSpPr>
        <p:grpSpPr>
          <a:xfrm>
            <a:off x="4093984" y="3075806"/>
            <a:ext cx="1296144" cy="2160240"/>
            <a:chOff x="4093984" y="3869895"/>
            <a:chExt cx="1296144" cy="2160240"/>
          </a:xfrm>
          <a:solidFill>
            <a:srgbClr val="01B0F1"/>
          </a:solidFill>
        </p:grpSpPr>
        <p:sp>
          <p:nvSpPr>
            <p:cNvPr id="15" name="椭圆 14"/>
            <p:cNvSpPr/>
            <p:nvPr/>
          </p:nvSpPr>
          <p:spPr bwMode="auto">
            <a:xfrm rot="1267204">
              <a:off x="4093984" y="3869895"/>
              <a:ext cx="1296144" cy="1296148"/>
            </a:xfrm>
            <a:prstGeom prst="ellipse">
              <a:avLst/>
            </a:prstGeom>
            <a:solidFill>
              <a:schemeClr val="bg1">
                <a:lumMod val="6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grpSp>
          <p:nvGrpSpPr>
            <p:cNvPr id="16" name="组合 15"/>
            <p:cNvGrpSpPr/>
            <p:nvPr/>
          </p:nvGrpSpPr>
          <p:grpSpPr>
            <a:xfrm>
              <a:off x="4290651" y="4240919"/>
              <a:ext cx="902811" cy="1789216"/>
              <a:chOff x="4290651" y="4240919"/>
              <a:chExt cx="902811" cy="1789216"/>
            </a:xfrm>
            <a:grpFill/>
          </p:grpSpPr>
          <p:sp>
            <p:nvSpPr>
              <p:cNvPr id="17" name="等腰三角形 16"/>
              <p:cNvSpPr/>
              <p:nvPr/>
            </p:nvSpPr>
            <p:spPr>
              <a:xfrm>
                <a:off x="4612050" y="5124996"/>
                <a:ext cx="260012" cy="231030"/>
              </a:xfrm>
              <a:prstGeom prst="triangle">
                <a:avLst/>
              </a:prstGeom>
              <a:solidFill>
                <a:schemeClr val="bg1">
                  <a:lumMod val="6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cxnSp>
            <p:nvCxnSpPr>
              <p:cNvPr id="18" name="直接连接符 17"/>
              <p:cNvCxnSpPr/>
              <p:nvPr/>
            </p:nvCxnSpPr>
            <p:spPr>
              <a:xfrm>
                <a:off x="4737752" y="5356026"/>
                <a:ext cx="0" cy="674109"/>
              </a:xfrm>
              <a:prstGeom prst="line">
                <a:avLst/>
              </a:prstGeom>
              <a:grpFill/>
              <a:ln w="38100">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4290651" y="4240919"/>
                <a:ext cx="902811" cy="523220"/>
              </a:xfrm>
              <a:prstGeom prst="rect">
                <a:avLst/>
              </a:prstGeom>
              <a:noFill/>
            </p:spPr>
            <p:txBody>
              <a:bodyPr wrap="none">
                <a:spAutoFit/>
              </a:bodyPr>
              <a:lstStyle/>
              <a:p>
                <a:r>
                  <a:rPr lang="zh-CN" altLang="en-US" sz="1400" dirty="0">
                    <a:solidFill>
                      <a:schemeClr val="bg1"/>
                    </a:solidFill>
                  </a:rPr>
                  <a:t>单击此处</a:t>
                </a:r>
                <a:endParaRPr lang="en-US" altLang="zh-CN" sz="1400" dirty="0">
                  <a:solidFill>
                    <a:schemeClr val="bg1"/>
                  </a:solidFill>
                </a:endParaRPr>
              </a:p>
              <a:p>
                <a:r>
                  <a:rPr lang="zh-CN" altLang="en-US" sz="1400" dirty="0">
                    <a:solidFill>
                      <a:schemeClr val="bg1"/>
                    </a:solidFill>
                  </a:rPr>
                  <a:t>添加标题</a:t>
                </a:r>
              </a:p>
            </p:txBody>
          </p:sp>
        </p:grpSp>
      </p:grpSp>
      <p:grpSp>
        <p:nvGrpSpPr>
          <p:cNvPr id="20" name="组合 19"/>
          <p:cNvGrpSpPr/>
          <p:nvPr/>
        </p:nvGrpSpPr>
        <p:grpSpPr>
          <a:xfrm>
            <a:off x="5652120" y="915566"/>
            <a:ext cx="1296144" cy="3816424"/>
            <a:chOff x="5678160" y="1637647"/>
            <a:chExt cx="1296144" cy="3816424"/>
          </a:xfrm>
          <a:solidFill>
            <a:srgbClr val="01B0F1"/>
          </a:solidFill>
        </p:grpSpPr>
        <p:sp>
          <p:nvSpPr>
            <p:cNvPr id="21" name="等腰三角形 20"/>
            <p:cNvSpPr/>
            <p:nvPr/>
          </p:nvSpPr>
          <p:spPr>
            <a:xfrm>
              <a:off x="6196226" y="2892748"/>
              <a:ext cx="260012" cy="231030"/>
            </a:xfrm>
            <a:prstGeom prst="triangl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椭圆 21"/>
            <p:cNvSpPr/>
            <p:nvPr/>
          </p:nvSpPr>
          <p:spPr bwMode="auto">
            <a:xfrm rot="1267204">
              <a:off x="5678160" y="1637647"/>
              <a:ext cx="1296144" cy="1296148"/>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23" name="直接连接符 22"/>
            <p:cNvCxnSpPr/>
            <p:nvPr/>
          </p:nvCxnSpPr>
          <p:spPr>
            <a:xfrm>
              <a:off x="6321928" y="3123779"/>
              <a:ext cx="0" cy="2330292"/>
            </a:xfrm>
            <a:prstGeom prst="line">
              <a:avLst/>
            </a:prstGeom>
            <a:grpFill/>
            <a:ln w="3810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5874827" y="2024111"/>
              <a:ext cx="902811" cy="523220"/>
            </a:xfrm>
            <a:prstGeom prst="rect">
              <a:avLst/>
            </a:prstGeom>
            <a:noFill/>
          </p:spPr>
          <p:txBody>
            <a:bodyPr wrap="none">
              <a:spAutoFit/>
            </a:bodyPr>
            <a:lstStyle/>
            <a:p>
              <a:r>
                <a:rPr lang="zh-CN" altLang="en-US" sz="1400" dirty="0">
                  <a:solidFill>
                    <a:schemeClr val="bg1"/>
                  </a:solidFill>
                </a:rPr>
                <a:t>单击此处</a:t>
              </a:r>
              <a:endParaRPr lang="en-US" altLang="zh-CN" sz="1400" dirty="0">
                <a:solidFill>
                  <a:schemeClr val="bg1"/>
                </a:solidFill>
              </a:endParaRPr>
            </a:p>
            <a:p>
              <a:r>
                <a:rPr lang="zh-CN" altLang="en-US" sz="1400" dirty="0">
                  <a:solidFill>
                    <a:schemeClr val="bg1"/>
                  </a:solidFill>
                </a:rPr>
                <a:t>添加标题</a:t>
              </a:r>
            </a:p>
          </p:txBody>
        </p:sp>
      </p:grpSp>
      <p:grpSp>
        <p:nvGrpSpPr>
          <p:cNvPr id="25" name="组合 24"/>
          <p:cNvGrpSpPr/>
          <p:nvPr/>
        </p:nvGrpSpPr>
        <p:grpSpPr>
          <a:xfrm>
            <a:off x="7046312" y="2502905"/>
            <a:ext cx="1296144" cy="2229085"/>
            <a:chOff x="7046312" y="3296994"/>
            <a:chExt cx="1296144" cy="2229085"/>
          </a:xfrm>
          <a:solidFill>
            <a:srgbClr val="01B0F1"/>
          </a:solidFill>
        </p:grpSpPr>
        <p:sp>
          <p:nvSpPr>
            <p:cNvPr id="26" name="等腰三角形 25"/>
            <p:cNvSpPr/>
            <p:nvPr/>
          </p:nvSpPr>
          <p:spPr>
            <a:xfrm>
              <a:off x="7564378" y="4552095"/>
              <a:ext cx="260012" cy="231030"/>
            </a:xfrm>
            <a:prstGeom prst="triangle">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7" name="椭圆 26"/>
            <p:cNvSpPr/>
            <p:nvPr/>
          </p:nvSpPr>
          <p:spPr bwMode="auto">
            <a:xfrm rot="1267204">
              <a:off x="7046312" y="3296994"/>
              <a:ext cx="1296144" cy="1296148"/>
            </a:xfrm>
            <a:prstGeom prst="ellipse">
              <a:avLst/>
            </a:prstGeom>
            <a:solidFill>
              <a:schemeClr val="accent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cxnSp>
          <p:nvCxnSpPr>
            <p:cNvPr id="28" name="直接连接符 27"/>
            <p:cNvCxnSpPr/>
            <p:nvPr/>
          </p:nvCxnSpPr>
          <p:spPr>
            <a:xfrm>
              <a:off x="7690080" y="4783126"/>
              <a:ext cx="0" cy="742953"/>
            </a:xfrm>
            <a:prstGeom prst="line">
              <a:avLst/>
            </a:prstGeom>
            <a:grpFill/>
            <a:ln w="38100">
              <a:solidFill>
                <a:schemeClr val="accent1"/>
              </a:solidFill>
            </a:ln>
            <a:effectLst/>
          </p:spPr>
          <p:style>
            <a:lnRef idx="1">
              <a:schemeClr val="accent1"/>
            </a:lnRef>
            <a:fillRef idx="0">
              <a:schemeClr val="accent1"/>
            </a:fillRef>
            <a:effectRef idx="0">
              <a:schemeClr val="accent1"/>
            </a:effectRef>
            <a:fontRef idx="minor">
              <a:schemeClr val="tx1"/>
            </a:fontRef>
          </p:style>
        </p:cxnSp>
        <p:sp>
          <p:nvSpPr>
            <p:cNvPr id="29" name="矩形 28"/>
            <p:cNvSpPr/>
            <p:nvPr/>
          </p:nvSpPr>
          <p:spPr>
            <a:xfrm>
              <a:off x="7242979" y="3679912"/>
              <a:ext cx="902811" cy="523220"/>
            </a:xfrm>
            <a:prstGeom prst="rect">
              <a:avLst/>
            </a:prstGeom>
            <a:noFill/>
          </p:spPr>
          <p:txBody>
            <a:bodyPr wrap="none">
              <a:spAutoFit/>
            </a:bodyPr>
            <a:lstStyle/>
            <a:p>
              <a:r>
                <a:rPr lang="zh-CN" altLang="en-US" sz="1400" dirty="0">
                  <a:solidFill>
                    <a:schemeClr val="bg1"/>
                  </a:solidFill>
                </a:rPr>
                <a:t>单击此处</a:t>
              </a:r>
              <a:endParaRPr lang="en-US" altLang="zh-CN" sz="1400" dirty="0">
                <a:solidFill>
                  <a:schemeClr val="bg1"/>
                </a:solidFill>
              </a:endParaRPr>
            </a:p>
            <a:p>
              <a:r>
                <a:rPr lang="zh-CN" altLang="en-US" sz="1400" dirty="0">
                  <a:solidFill>
                    <a:schemeClr val="bg1"/>
                  </a:solidFill>
                </a:rPr>
                <a:t>添加标题</a:t>
              </a:r>
            </a:p>
          </p:txBody>
        </p:sp>
      </p:grpSp>
    </p:spTree>
  </p:cSld>
  <p:clrMapOvr>
    <a:masterClrMapping/>
  </p:clrMapOvr>
  <p:transition spd="slow" advTm="15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anim calcmode="lin" valueType="num">
                                      <p:cBhvr>
                                        <p:cTn id="13" dur="500" fill="hold"/>
                                        <p:tgtEl>
                                          <p:spTgt spid="9"/>
                                        </p:tgtEl>
                                        <p:attrNameLst>
                                          <p:attrName>ppt_x</p:attrName>
                                        </p:attrNameLst>
                                      </p:cBhvr>
                                      <p:tavLst>
                                        <p:tav tm="0">
                                          <p:val>
                                            <p:strVal val="#ppt_x"/>
                                          </p:val>
                                        </p:tav>
                                        <p:tav tm="100000">
                                          <p:val>
                                            <p:strVal val="#ppt_x"/>
                                          </p:val>
                                        </p:tav>
                                      </p:tavLst>
                                    </p:anim>
                                    <p:anim calcmode="lin" valueType="num">
                                      <p:cBhvr>
                                        <p:cTn id="14" dur="500" fill="hold"/>
                                        <p:tgtEl>
                                          <p:spTgt spid="9"/>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strVal val="#ppt_x"/>
                                          </p:val>
                                        </p:tav>
                                        <p:tav tm="100000">
                                          <p:val>
                                            <p:strVal val="#ppt_x"/>
                                          </p:val>
                                        </p:tav>
                                      </p:tavLst>
                                    </p:anim>
                                    <p:anim calcmode="lin" valueType="num">
                                      <p:cBhvr>
                                        <p:cTn id="19" dur="500" fill="hold"/>
                                        <p:tgtEl>
                                          <p:spTgt spid="14"/>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3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anim calcmode="lin" valueType="num">
                                      <p:cBhvr>
                                        <p:cTn id="23" dur="500" fill="hold"/>
                                        <p:tgtEl>
                                          <p:spTgt spid="20"/>
                                        </p:tgtEl>
                                        <p:attrNameLst>
                                          <p:attrName>ppt_x</p:attrName>
                                        </p:attrNameLst>
                                      </p:cBhvr>
                                      <p:tavLst>
                                        <p:tav tm="0">
                                          <p:val>
                                            <p:strVal val="#ppt_x"/>
                                          </p:val>
                                        </p:tav>
                                        <p:tav tm="100000">
                                          <p:val>
                                            <p:strVal val="#ppt_x"/>
                                          </p:val>
                                        </p:tav>
                                      </p:tavLst>
                                    </p:anim>
                                    <p:anim calcmode="lin" valueType="num">
                                      <p:cBhvr>
                                        <p:cTn id="24" dur="500" fill="hold"/>
                                        <p:tgtEl>
                                          <p:spTgt spid="20"/>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anim calcmode="lin" valueType="num">
                                      <p:cBhvr>
                                        <p:cTn id="28" dur="500" fill="hold"/>
                                        <p:tgtEl>
                                          <p:spTgt spid="25"/>
                                        </p:tgtEl>
                                        <p:attrNameLst>
                                          <p:attrName>ppt_x</p:attrName>
                                        </p:attrNameLst>
                                      </p:cBhvr>
                                      <p:tavLst>
                                        <p:tav tm="0">
                                          <p:val>
                                            <p:strVal val="#ppt_x"/>
                                          </p:val>
                                        </p:tav>
                                        <p:tav tm="100000">
                                          <p:val>
                                            <p:strVal val="#ppt_x"/>
                                          </p:val>
                                        </p:tav>
                                      </p:tavLst>
                                    </p:anim>
                                    <p:anim calcmode="lin" valueType="num">
                                      <p:cBhvr>
                                        <p:cTn id="29"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cxnSp>
        <p:nvCxnSpPr>
          <p:cNvPr id="4" name="直接连接符 3"/>
          <p:cNvCxnSpPr/>
          <p:nvPr/>
        </p:nvCxnSpPr>
        <p:spPr>
          <a:xfrm flipH="1">
            <a:off x="1781404" y="3310982"/>
            <a:ext cx="5943600" cy="33020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H="1" flipV="1">
            <a:off x="1814018" y="1995039"/>
            <a:ext cx="5930902" cy="311089"/>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 name="组合 5"/>
          <p:cNvGrpSpPr/>
          <p:nvPr/>
        </p:nvGrpSpPr>
        <p:grpSpPr>
          <a:xfrm>
            <a:off x="2558890" y="987574"/>
            <a:ext cx="5256583" cy="921150"/>
            <a:chOff x="2771801" y="1859779"/>
            <a:chExt cx="5256583" cy="921150"/>
          </a:xfrm>
        </p:grpSpPr>
        <p:sp>
          <p:nvSpPr>
            <p:cNvPr id="7" name="TextBox 6"/>
            <p:cNvSpPr txBox="1"/>
            <p:nvPr/>
          </p:nvSpPr>
          <p:spPr>
            <a:xfrm>
              <a:off x="2771801" y="1859779"/>
              <a:ext cx="1620957" cy="307777"/>
            </a:xfrm>
            <a:prstGeom prst="rect">
              <a:avLst/>
            </a:prstGeom>
            <a:noFill/>
          </p:spPr>
          <p:txBody>
            <a:bodyPr wrap="none" rtlCol="0">
              <a:spAutoFit/>
            </a:bodyPr>
            <a:lstStyle/>
            <a:p>
              <a:r>
                <a:rPr lang="zh-CN" altLang="en-US" sz="1400" b="1" dirty="0">
                  <a:solidFill>
                    <a:schemeClr val="bg1">
                      <a:lumMod val="50000"/>
                    </a:schemeClr>
                  </a:solidFill>
                </a:rPr>
                <a:t>单击此处添加标题</a:t>
              </a:r>
            </a:p>
          </p:txBody>
        </p:sp>
        <p:sp>
          <p:nvSpPr>
            <p:cNvPr id="8" name="TextBox 7"/>
            <p:cNvSpPr txBox="1"/>
            <p:nvPr/>
          </p:nvSpPr>
          <p:spPr>
            <a:xfrm>
              <a:off x="2792636" y="2167556"/>
              <a:ext cx="5235748" cy="613373"/>
            </a:xfrm>
            <a:prstGeom prst="rect">
              <a:avLst/>
            </a:prstGeom>
            <a:noFill/>
          </p:spPr>
          <p:txBody>
            <a:bodyPr wrap="square" rtlCol="0">
              <a:spAutoFit/>
            </a:bodyPr>
            <a:lstStyle/>
            <a:p>
              <a:pPr>
                <a:lnSpc>
                  <a:spcPct val="150000"/>
                </a:lnSpc>
              </a:pPr>
              <a:r>
                <a:rPr lang="zh-CN" altLang="en-US" sz="1200" dirty="0">
                  <a:solidFill>
                    <a:schemeClr val="bg1">
                      <a:lumMod val="50000"/>
                    </a:schemeClr>
                  </a:solidFill>
                </a:rPr>
                <a:t>这里根据您的需要输入介绍文本，这里根据您的需要输入介绍文本，这里根据您的需要输入介绍文本。</a:t>
              </a:r>
            </a:p>
          </p:txBody>
        </p:sp>
      </p:grpSp>
      <p:grpSp>
        <p:nvGrpSpPr>
          <p:cNvPr id="9" name="组合 8"/>
          <p:cNvGrpSpPr/>
          <p:nvPr/>
        </p:nvGrpSpPr>
        <p:grpSpPr>
          <a:xfrm>
            <a:off x="2492281" y="3671615"/>
            <a:ext cx="5256583" cy="954108"/>
            <a:chOff x="2705192" y="4543820"/>
            <a:chExt cx="5256583" cy="954108"/>
          </a:xfrm>
        </p:grpSpPr>
        <p:sp>
          <p:nvSpPr>
            <p:cNvPr id="10" name="TextBox 9"/>
            <p:cNvSpPr txBox="1"/>
            <p:nvPr/>
          </p:nvSpPr>
          <p:spPr>
            <a:xfrm>
              <a:off x="2705192" y="4543820"/>
              <a:ext cx="1620957" cy="307777"/>
            </a:xfrm>
            <a:prstGeom prst="rect">
              <a:avLst/>
            </a:prstGeom>
            <a:noFill/>
          </p:spPr>
          <p:txBody>
            <a:bodyPr wrap="none" rtlCol="0">
              <a:spAutoFit/>
            </a:bodyPr>
            <a:lstStyle/>
            <a:p>
              <a:r>
                <a:rPr lang="zh-CN" altLang="en-US" sz="1400" b="1" dirty="0">
                  <a:solidFill>
                    <a:schemeClr val="bg1">
                      <a:lumMod val="50000"/>
                    </a:schemeClr>
                  </a:solidFill>
                </a:rPr>
                <a:t>单击此处添加标题</a:t>
              </a:r>
            </a:p>
          </p:txBody>
        </p:sp>
        <p:sp>
          <p:nvSpPr>
            <p:cNvPr id="11" name="TextBox 10"/>
            <p:cNvSpPr txBox="1"/>
            <p:nvPr/>
          </p:nvSpPr>
          <p:spPr>
            <a:xfrm>
              <a:off x="2726027" y="4851597"/>
              <a:ext cx="5235748" cy="646331"/>
            </a:xfrm>
            <a:prstGeom prst="rect">
              <a:avLst/>
            </a:prstGeom>
            <a:noFill/>
          </p:spPr>
          <p:txBody>
            <a:bodyPr wrap="square" rtlCol="0">
              <a:spAutoFit/>
            </a:bodyPr>
            <a:lstStyle/>
            <a:p>
              <a:pPr>
                <a:lnSpc>
                  <a:spcPct val="150000"/>
                </a:lnSpc>
              </a:pPr>
              <a:r>
                <a:rPr lang="zh-CN" altLang="en-US" sz="1200" dirty="0">
                  <a:solidFill>
                    <a:schemeClr val="bg1">
                      <a:lumMod val="50000"/>
                    </a:schemeClr>
                  </a:solidFill>
                </a:rPr>
                <a:t>这里根据您的需要输入介绍文本，这里根据您的需要输入介绍文本，这里根据您的需要输入介绍文本。</a:t>
              </a:r>
            </a:p>
          </p:txBody>
        </p:sp>
      </p:grpSp>
      <p:grpSp>
        <p:nvGrpSpPr>
          <p:cNvPr id="12" name="组合 11"/>
          <p:cNvGrpSpPr/>
          <p:nvPr/>
        </p:nvGrpSpPr>
        <p:grpSpPr>
          <a:xfrm>
            <a:off x="1386714" y="2356765"/>
            <a:ext cx="5241405" cy="893183"/>
            <a:chOff x="1599625" y="3228970"/>
            <a:chExt cx="5241405" cy="893183"/>
          </a:xfrm>
        </p:grpSpPr>
        <p:sp>
          <p:nvSpPr>
            <p:cNvPr id="13" name="TextBox 12"/>
            <p:cNvSpPr txBox="1"/>
            <p:nvPr/>
          </p:nvSpPr>
          <p:spPr>
            <a:xfrm>
              <a:off x="5220073" y="3228970"/>
              <a:ext cx="1620957" cy="307777"/>
            </a:xfrm>
            <a:prstGeom prst="rect">
              <a:avLst/>
            </a:prstGeom>
            <a:noFill/>
          </p:spPr>
          <p:txBody>
            <a:bodyPr wrap="none" rtlCol="0">
              <a:spAutoFit/>
            </a:bodyPr>
            <a:lstStyle/>
            <a:p>
              <a:r>
                <a:rPr lang="zh-CN" altLang="en-US" sz="1400" b="1" dirty="0">
                  <a:solidFill>
                    <a:schemeClr val="bg1">
                      <a:lumMod val="50000"/>
                    </a:schemeClr>
                  </a:solidFill>
                </a:rPr>
                <a:t>单击此处添加标题</a:t>
              </a:r>
            </a:p>
          </p:txBody>
        </p:sp>
        <p:sp>
          <p:nvSpPr>
            <p:cNvPr id="14" name="TextBox 13"/>
            <p:cNvSpPr txBox="1"/>
            <p:nvPr/>
          </p:nvSpPr>
          <p:spPr>
            <a:xfrm>
              <a:off x="1599625" y="3508780"/>
              <a:ext cx="5235748" cy="613373"/>
            </a:xfrm>
            <a:prstGeom prst="rect">
              <a:avLst/>
            </a:prstGeom>
            <a:noFill/>
          </p:spPr>
          <p:txBody>
            <a:bodyPr wrap="square" rtlCol="0">
              <a:spAutoFit/>
            </a:bodyPr>
            <a:lstStyle/>
            <a:p>
              <a:pPr algn="r">
                <a:lnSpc>
                  <a:spcPct val="150000"/>
                </a:lnSpc>
              </a:pPr>
              <a:r>
                <a:rPr lang="zh-CN" altLang="en-US" sz="1200" dirty="0">
                  <a:solidFill>
                    <a:schemeClr val="bg1">
                      <a:lumMod val="50000"/>
                    </a:schemeClr>
                  </a:solidFill>
                </a:rPr>
                <a:t>这里根据您的需要输入介绍文本，这里根据您的需要输入介绍文本，这里根据您的需要输入介绍文本。</a:t>
              </a:r>
            </a:p>
          </p:txBody>
        </p:sp>
      </p:grpSp>
      <p:grpSp>
        <p:nvGrpSpPr>
          <p:cNvPr id="15" name="组合 14"/>
          <p:cNvGrpSpPr/>
          <p:nvPr/>
        </p:nvGrpSpPr>
        <p:grpSpPr>
          <a:xfrm>
            <a:off x="971600" y="1060794"/>
            <a:ext cx="1469461" cy="1089789"/>
            <a:chOff x="1184511" y="1932999"/>
            <a:chExt cx="1469461" cy="1089789"/>
          </a:xfrm>
        </p:grpSpPr>
        <p:grpSp>
          <p:nvGrpSpPr>
            <p:cNvPr id="16" name="组合 15"/>
            <p:cNvGrpSpPr/>
            <p:nvPr/>
          </p:nvGrpSpPr>
          <p:grpSpPr>
            <a:xfrm>
              <a:off x="1184511" y="1932999"/>
              <a:ext cx="1469461" cy="1089789"/>
              <a:chOff x="1403648" y="730388"/>
              <a:chExt cx="2330279" cy="1728192"/>
            </a:xfrm>
            <a:solidFill>
              <a:srgbClr val="9FC317"/>
            </a:solidFill>
          </p:grpSpPr>
          <p:sp>
            <p:nvSpPr>
              <p:cNvPr id="18" name="椭圆 2"/>
              <p:cNvSpPr/>
              <p:nvPr/>
            </p:nvSpPr>
            <p:spPr>
              <a:xfrm>
                <a:off x="1403648" y="730388"/>
                <a:ext cx="1728192" cy="1728192"/>
              </a:xfrm>
              <a:custGeom>
                <a:avLst/>
                <a:gdLst/>
                <a:ahLst/>
                <a:cxnLst/>
                <a:rect l="l" t="t" r="r" b="b"/>
                <a:pathLst>
                  <a:path w="1728192" h="1728192">
                    <a:moveTo>
                      <a:pt x="864096" y="108012"/>
                    </a:moveTo>
                    <a:cubicBezTo>
                      <a:pt x="446522" y="108012"/>
                      <a:pt x="108012" y="446522"/>
                      <a:pt x="108012" y="864096"/>
                    </a:cubicBezTo>
                    <a:cubicBezTo>
                      <a:pt x="108012" y="1281670"/>
                      <a:pt x="446522" y="1620180"/>
                      <a:pt x="864096" y="1620180"/>
                    </a:cubicBezTo>
                    <a:cubicBezTo>
                      <a:pt x="1281670" y="1620180"/>
                      <a:pt x="1620180" y="1281670"/>
                      <a:pt x="1620180" y="864096"/>
                    </a:cubicBezTo>
                    <a:cubicBezTo>
                      <a:pt x="1620180" y="446522"/>
                      <a:pt x="1281670" y="108012"/>
                      <a:pt x="864096" y="108012"/>
                    </a:cubicBezTo>
                    <a:close/>
                    <a:moveTo>
                      <a:pt x="864096" y="0"/>
                    </a:moveTo>
                    <a:cubicBezTo>
                      <a:pt x="1341323" y="0"/>
                      <a:pt x="1728192" y="386869"/>
                      <a:pt x="1728192" y="864096"/>
                    </a:cubicBezTo>
                    <a:cubicBezTo>
                      <a:pt x="1728192" y="1341323"/>
                      <a:pt x="1341323" y="1728192"/>
                      <a:pt x="864096" y="1728192"/>
                    </a:cubicBezTo>
                    <a:cubicBezTo>
                      <a:pt x="386869" y="1728192"/>
                      <a:pt x="0" y="1341323"/>
                      <a:pt x="0" y="864096"/>
                    </a:cubicBezTo>
                    <a:cubicBezTo>
                      <a:pt x="0" y="386869"/>
                      <a:pt x="386869" y="0"/>
                      <a:pt x="8640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sp>
            <p:nvSpPr>
              <p:cNvPr id="19" name="右箭头 18"/>
              <p:cNvSpPr/>
              <p:nvPr/>
            </p:nvSpPr>
            <p:spPr>
              <a:xfrm>
                <a:off x="3085855" y="1325298"/>
                <a:ext cx="648072" cy="53837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grpSp>
        <p:sp>
          <p:nvSpPr>
            <p:cNvPr id="17" name="TextBox 16"/>
            <p:cNvSpPr txBox="1"/>
            <p:nvPr/>
          </p:nvSpPr>
          <p:spPr>
            <a:xfrm>
              <a:off x="1406239" y="2278308"/>
              <a:ext cx="646331" cy="369332"/>
            </a:xfrm>
            <a:prstGeom prst="rect">
              <a:avLst/>
            </a:prstGeom>
            <a:noFill/>
          </p:spPr>
          <p:txBody>
            <a:bodyPr wrap="none" rtlCol="0">
              <a:spAutoFit/>
            </a:bodyPr>
            <a:lstStyle/>
            <a:p>
              <a:r>
                <a:rPr lang="zh-CN" altLang="en-US" b="1" dirty="0">
                  <a:solidFill>
                    <a:schemeClr val="bg1">
                      <a:lumMod val="50000"/>
                    </a:schemeClr>
                  </a:solidFill>
                </a:rPr>
                <a:t>标题</a:t>
              </a:r>
            </a:p>
          </p:txBody>
        </p:sp>
      </p:grpSp>
      <p:grpSp>
        <p:nvGrpSpPr>
          <p:cNvPr id="20" name="组合 19"/>
          <p:cNvGrpSpPr/>
          <p:nvPr/>
        </p:nvGrpSpPr>
        <p:grpSpPr>
          <a:xfrm>
            <a:off x="6706053" y="2261426"/>
            <a:ext cx="1469461" cy="1089790"/>
            <a:chOff x="6918964" y="3133631"/>
            <a:chExt cx="1469461" cy="1089790"/>
          </a:xfrm>
        </p:grpSpPr>
        <p:grpSp>
          <p:nvGrpSpPr>
            <p:cNvPr id="21" name="组合 20"/>
            <p:cNvGrpSpPr/>
            <p:nvPr/>
          </p:nvGrpSpPr>
          <p:grpSpPr>
            <a:xfrm flipH="1">
              <a:off x="6918964" y="3133631"/>
              <a:ext cx="1469461" cy="1089790"/>
              <a:chOff x="1403648" y="730388"/>
              <a:chExt cx="2330279" cy="1728192"/>
            </a:xfrm>
            <a:solidFill>
              <a:srgbClr val="9FC317"/>
            </a:solidFill>
          </p:grpSpPr>
          <p:sp>
            <p:nvSpPr>
              <p:cNvPr id="23" name="椭圆 2"/>
              <p:cNvSpPr/>
              <p:nvPr/>
            </p:nvSpPr>
            <p:spPr>
              <a:xfrm>
                <a:off x="1403648" y="730388"/>
                <a:ext cx="1728192" cy="1728192"/>
              </a:xfrm>
              <a:custGeom>
                <a:avLst/>
                <a:gdLst/>
                <a:ahLst/>
                <a:cxnLst/>
                <a:rect l="l" t="t" r="r" b="b"/>
                <a:pathLst>
                  <a:path w="1728192" h="1728192">
                    <a:moveTo>
                      <a:pt x="864096" y="108012"/>
                    </a:moveTo>
                    <a:cubicBezTo>
                      <a:pt x="446522" y="108012"/>
                      <a:pt x="108012" y="446522"/>
                      <a:pt x="108012" y="864096"/>
                    </a:cubicBezTo>
                    <a:cubicBezTo>
                      <a:pt x="108012" y="1281670"/>
                      <a:pt x="446522" y="1620180"/>
                      <a:pt x="864096" y="1620180"/>
                    </a:cubicBezTo>
                    <a:cubicBezTo>
                      <a:pt x="1281670" y="1620180"/>
                      <a:pt x="1620180" y="1281670"/>
                      <a:pt x="1620180" y="864096"/>
                    </a:cubicBezTo>
                    <a:cubicBezTo>
                      <a:pt x="1620180" y="446522"/>
                      <a:pt x="1281670" y="108012"/>
                      <a:pt x="864096" y="108012"/>
                    </a:cubicBezTo>
                    <a:close/>
                    <a:moveTo>
                      <a:pt x="864096" y="0"/>
                    </a:moveTo>
                    <a:cubicBezTo>
                      <a:pt x="1341323" y="0"/>
                      <a:pt x="1728192" y="386869"/>
                      <a:pt x="1728192" y="864096"/>
                    </a:cubicBezTo>
                    <a:cubicBezTo>
                      <a:pt x="1728192" y="1341323"/>
                      <a:pt x="1341323" y="1728192"/>
                      <a:pt x="864096" y="1728192"/>
                    </a:cubicBezTo>
                    <a:cubicBezTo>
                      <a:pt x="386869" y="1728192"/>
                      <a:pt x="0" y="1341323"/>
                      <a:pt x="0" y="864096"/>
                    </a:cubicBezTo>
                    <a:cubicBezTo>
                      <a:pt x="0" y="386869"/>
                      <a:pt x="386869" y="0"/>
                      <a:pt x="8640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sp>
            <p:nvSpPr>
              <p:cNvPr id="24" name="右箭头 23"/>
              <p:cNvSpPr/>
              <p:nvPr/>
            </p:nvSpPr>
            <p:spPr>
              <a:xfrm>
                <a:off x="3085855" y="1325298"/>
                <a:ext cx="648072" cy="53837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grpSp>
        <p:sp>
          <p:nvSpPr>
            <p:cNvPr id="22" name="TextBox 21"/>
            <p:cNvSpPr txBox="1"/>
            <p:nvPr/>
          </p:nvSpPr>
          <p:spPr>
            <a:xfrm>
              <a:off x="7520365" y="3472412"/>
              <a:ext cx="646331" cy="369332"/>
            </a:xfrm>
            <a:prstGeom prst="rect">
              <a:avLst/>
            </a:prstGeom>
            <a:noFill/>
          </p:spPr>
          <p:txBody>
            <a:bodyPr wrap="none" rtlCol="0">
              <a:spAutoFit/>
            </a:bodyPr>
            <a:lstStyle/>
            <a:p>
              <a:r>
                <a:rPr lang="zh-CN" altLang="en-US" b="1" dirty="0">
                  <a:solidFill>
                    <a:schemeClr val="bg1">
                      <a:lumMod val="50000"/>
                    </a:schemeClr>
                  </a:solidFill>
                </a:rPr>
                <a:t>标题</a:t>
              </a:r>
            </a:p>
          </p:txBody>
        </p:sp>
      </p:grpSp>
      <p:grpSp>
        <p:nvGrpSpPr>
          <p:cNvPr id="25" name="组合 24"/>
          <p:cNvGrpSpPr/>
          <p:nvPr/>
        </p:nvGrpSpPr>
        <p:grpSpPr>
          <a:xfrm>
            <a:off x="971600" y="3512645"/>
            <a:ext cx="1469461" cy="1089789"/>
            <a:chOff x="1184511" y="4384850"/>
            <a:chExt cx="1469461" cy="1089789"/>
          </a:xfrm>
        </p:grpSpPr>
        <p:grpSp>
          <p:nvGrpSpPr>
            <p:cNvPr id="26" name="组合 25"/>
            <p:cNvGrpSpPr/>
            <p:nvPr/>
          </p:nvGrpSpPr>
          <p:grpSpPr>
            <a:xfrm>
              <a:off x="1184511" y="4384850"/>
              <a:ext cx="1469461" cy="1089789"/>
              <a:chOff x="1403648" y="730388"/>
              <a:chExt cx="2330279" cy="1728192"/>
            </a:xfrm>
            <a:solidFill>
              <a:srgbClr val="9FC317"/>
            </a:solidFill>
          </p:grpSpPr>
          <p:sp>
            <p:nvSpPr>
              <p:cNvPr id="28" name="椭圆 2"/>
              <p:cNvSpPr/>
              <p:nvPr/>
            </p:nvSpPr>
            <p:spPr>
              <a:xfrm>
                <a:off x="1403648" y="730388"/>
                <a:ext cx="1728192" cy="1728192"/>
              </a:xfrm>
              <a:custGeom>
                <a:avLst/>
                <a:gdLst/>
                <a:ahLst/>
                <a:cxnLst/>
                <a:rect l="l" t="t" r="r" b="b"/>
                <a:pathLst>
                  <a:path w="1728192" h="1728192">
                    <a:moveTo>
                      <a:pt x="864096" y="108012"/>
                    </a:moveTo>
                    <a:cubicBezTo>
                      <a:pt x="446522" y="108012"/>
                      <a:pt x="108012" y="446522"/>
                      <a:pt x="108012" y="864096"/>
                    </a:cubicBezTo>
                    <a:cubicBezTo>
                      <a:pt x="108012" y="1281670"/>
                      <a:pt x="446522" y="1620180"/>
                      <a:pt x="864096" y="1620180"/>
                    </a:cubicBezTo>
                    <a:cubicBezTo>
                      <a:pt x="1281670" y="1620180"/>
                      <a:pt x="1620180" y="1281670"/>
                      <a:pt x="1620180" y="864096"/>
                    </a:cubicBezTo>
                    <a:cubicBezTo>
                      <a:pt x="1620180" y="446522"/>
                      <a:pt x="1281670" y="108012"/>
                      <a:pt x="864096" y="108012"/>
                    </a:cubicBezTo>
                    <a:close/>
                    <a:moveTo>
                      <a:pt x="864096" y="0"/>
                    </a:moveTo>
                    <a:cubicBezTo>
                      <a:pt x="1341323" y="0"/>
                      <a:pt x="1728192" y="386869"/>
                      <a:pt x="1728192" y="864096"/>
                    </a:cubicBezTo>
                    <a:cubicBezTo>
                      <a:pt x="1728192" y="1341323"/>
                      <a:pt x="1341323" y="1728192"/>
                      <a:pt x="864096" y="1728192"/>
                    </a:cubicBezTo>
                    <a:cubicBezTo>
                      <a:pt x="386869" y="1728192"/>
                      <a:pt x="0" y="1341323"/>
                      <a:pt x="0" y="864096"/>
                    </a:cubicBezTo>
                    <a:cubicBezTo>
                      <a:pt x="0" y="386869"/>
                      <a:pt x="386869" y="0"/>
                      <a:pt x="86409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sp>
            <p:nvSpPr>
              <p:cNvPr id="29" name="右箭头 28"/>
              <p:cNvSpPr/>
              <p:nvPr/>
            </p:nvSpPr>
            <p:spPr>
              <a:xfrm>
                <a:off x="3085855" y="1325298"/>
                <a:ext cx="648072" cy="538372"/>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solidFill>
                    <a:schemeClr val="bg1">
                      <a:lumMod val="50000"/>
                    </a:schemeClr>
                  </a:solidFill>
                </a:endParaRPr>
              </a:p>
            </p:txBody>
          </p:sp>
        </p:grpSp>
        <p:sp>
          <p:nvSpPr>
            <p:cNvPr id="27" name="TextBox 26"/>
            <p:cNvSpPr txBox="1"/>
            <p:nvPr/>
          </p:nvSpPr>
          <p:spPr>
            <a:xfrm>
              <a:off x="1406239" y="4759996"/>
              <a:ext cx="646331" cy="369332"/>
            </a:xfrm>
            <a:prstGeom prst="rect">
              <a:avLst/>
            </a:prstGeom>
            <a:noFill/>
          </p:spPr>
          <p:txBody>
            <a:bodyPr wrap="none" rtlCol="0">
              <a:spAutoFit/>
            </a:bodyPr>
            <a:lstStyle/>
            <a:p>
              <a:r>
                <a:rPr lang="zh-CN" altLang="en-US" b="1" dirty="0">
                  <a:solidFill>
                    <a:schemeClr val="bg1">
                      <a:lumMod val="50000"/>
                    </a:schemeClr>
                  </a:solidFill>
                </a:rPr>
                <a:t>标题</a:t>
              </a:r>
            </a:p>
          </p:txBody>
        </p:sp>
      </p:grpSp>
    </p:spTree>
  </p:cSld>
  <p:clrMapOvr>
    <a:masterClrMapping/>
  </p:clrMapOvr>
  <p:transition spd="slow" advTm="2803">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0-#ppt_w/2"/>
                                          </p:val>
                                        </p:tav>
                                        <p:tav tm="100000">
                                          <p:val>
                                            <p:strVal val="#ppt_x"/>
                                          </p:val>
                                        </p:tav>
                                      </p:tavLst>
                                    </p:anim>
                                    <p:anim calcmode="lin" valueType="num">
                                      <p:cBhvr additive="base">
                                        <p:cTn id="8" dur="500" fill="hold"/>
                                        <p:tgtEl>
                                          <p:spTgt spid="1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5"/>
                                        </p:tgtEl>
                                        <p:attrNameLst>
                                          <p:attrName>style.visibility</p:attrName>
                                        </p:attrNameLst>
                                      </p:cBhvr>
                                      <p:to>
                                        <p:strVal val="visible"/>
                                      </p:to>
                                    </p:set>
                                    <p:anim calcmode="lin" valueType="num">
                                      <p:cBhvr additive="base">
                                        <p:cTn id="11" dur="500" fill="hold"/>
                                        <p:tgtEl>
                                          <p:spTgt spid="25"/>
                                        </p:tgtEl>
                                        <p:attrNameLst>
                                          <p:attrName>ppt_x</p:attrName>
                                        </p:attrNameLst>
                                      </p:cBhvr>
                                      <p:tavLst>
                                        <p:tav tm="0">
                                          <p:val>
                                            <p:strVal val="0-#ppt_w/2"/>
                                          </p:val>
                                        </p:tav>
                                        <p:tav tm="100000">
                                          <p:val>
                                            <p:strVal val="#ppt_x"/>
                                          </p:val>
                                        </p:tav>
                                      </p:tavLst>
                                    </p:anim>
                                    <p:anim calcmode="lin" valueType="num">
                                      <p:cBhvr additive="base">
                                        <p:cTn id="12" dur="500" fill="hold"/>
                                        <p:tgtEl>
                                          <p:spTgt spid="25"/>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anim calcmode="lin" valueType="num">
                                      <p:cBhvr additive="base">
                                        <p:cTn id="15" dur="500" fill="hold"/>
                                        <p:tgtEl>
                                          <p:spTgt spid="20"/>
                                        </p:tgtEl>
                                        <p:attrNameLst>
                                          <p:attrName>ppt_x</p:attrName>
                                        </p:attrNameLst>
                                      </p:cBhvr>
                                      <p:tavLst>
                                        <p:tav tm="0">
                                          <p:val>
                                            <p:strVal val="1+#ppt_w/2"/>
                                          </p:val>
                                        </p:tav>
                                        <p:tav tm="100000">
                                          <p:val>
                                            <p:strVal val="#ppt_x"/>
                                          </p:val>
                                        </p:tav>
                                      </p:tavLst>
                                    </p:anim>
                                    <p:anim calcmode="lin" valueType="num">
                                      <p:cBhvr additive="base">
                                        <p:cTn id="16" dur="500" fill="hold"/>
                                        <p:tgtEl>
                                          <p:spTgt spid="20"/>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500"/>
                                        <p:tgtEl>
                                          <p:spTgt spid="5"/>
                                        </p:tgtEl>
                                      </p:cBhvr>
                                    </p:animEffect>
                                  </p:childTnLst>
                                </p:cTn>
                              </p:par>
                              <p:par>
                                <p:cTn id="21" presetID="22" presetClass="entr" presetSubtype="2" fill="hold" nodeType="with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right)">
                                      <p:cBhvr>
                                        <p:cTn id="23" dur="500"/>
                                        <p:tgtEl>
                                          <p:spTgt spid="4"/>
                                        </p:tgtEl>
                                      </p:cBhvr>
                                    </p:animEffect>
                                  </p:childTnLst>
                                </p:cTn>
                              </p:par>
                            </p:childTnLst>
                          </p:cTn>
                        </p:par>
                        <p:par>
                          <p:cTn id="24" fill="hold">
                            <p:stCondLst>
                              <p:cond delay="1000"/>
                            </p:stCondLst>
                            <p:childTnLst>
                              <p:par>
                                <p:cTn id="25" presetID="22" presetClass="entr" presetSubtype="8"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left)">
                                      <p:cBhvr>
                                        <p:cTn id="27" dur="500"/>
                                        <p:tgtEl>
                                          <p:spTgt spid="6"/>
                                        </p:tgtEl>
                                      </p:cBhvr>
                                    </p:animEffect>
                                  </p:childTnLst>
                                </p:cTn>
                              </p:par>
                              <p:par>
                                <p:cTn id="28" presetID="22" presetClass="entr" presetSubtype="2" fill="hold" nodeType="withEffect">
                                  <p:stCondLst>
                                    <p:cond delay="0"/>
                                  </p:stCondLst>
                                  <p:childTnLst>
                                    <p:set>
                                      <p:cBhvr>
                                        <p:cTn id="29" dur="1" fill="hold">
                                          <p:stCondLst>
                                            <p:cond delay="0"/>
                                          </p:stCondLst>
                                        </p:cTn>
                                        <p:tgtEl>
                                          <p:spTgt spid="12"/>
                                        </p:tgtEl>
                                        <p:attrNameLst>
                                          <p:attrName>style.visibility</p:attrName>
                                        </p:attrNameLst>
                                      </p:cBhvr>
                                      <p:to>
                                        <p:strVal val="visible"/>
                                      </p:to>
                                    </p:set>
                                    <p:animEffect transition="in" filter="wipe(right)">
                                      <p:cBhvr>
                                        <p:cTn id="30" dur="500"/>
                                        <p:tgtEl>
                                          <p:spTgt spid="12"/>
                                        </p:tgtEl>
                                      </p:cBhvr>
                                    </p:animEffect>
                                  </p:childTnLst>
                                </p:cTn>
                              </p:par>
                              <p:par>
                                <p:cTn id="31" presetID="22" presetClass="entr" presetSubtype="8" fill="hold" nodeType="with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wipe(left)">
                                      <p:cBhvr>
                                        <p:cTn id="3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4" name="椭圆 18"/>
          <p:cNvSpPr/>
          <p:nvPr/>
        </p:nvSpPr>
        <p:spPr>
          <a:xfrm>
            <a:off x="2626133" y="2004413"/>
            <a:ext cx="3891241" cy="2250065"/>
          </a:xfrm>
          <a:custGeom>
            <a:avLst/>
            <a:gdLst/>
            <a:ahLst/>
            <a:cxnLst/>
            <a:rect l="l" t="t" r="r" b="b"/>
            <a:pathLst>
              <a:path w="6552728" h="3789040">
                <a:moveTo>
                  <a:pt x="3276364" y="0"/>
                </a:moveTo>
                <a:cubicBezTo>
                  <a:pt x="5085850" y="0"/>
                  <a:pt x="6552728" y="1466878"/>
                  <a:pt x="6552728" y="3276364"/>
                </a:cubicBezTo>
                <a:cubicBezTo>
                  <a:pt x="6552728" y="3450792"/>
                  <a:pt x="6539098" y="3622036"/>
                  <a:pt x="6512527" y="3789040"/>
                </a:cubicBezTo>
                <a:lnTo>
                  <a:pt x="5535623" y="3789040"/>
                </a:lnTo>
                <a:cubicBezTo>
                  <a:pt x="5553690" y="3674839"/>
                  <a:pt x="5562811" y="3557773"/>
                  <a:pt x="5562811" y="3438575"/>
                </a:cubicBezTo>
                <a:cubicBezTo>
                  <a:pt x="5562811" y="2175805"/>
                  <a:pt x="4539134" y="1152128"/>
                  <a:pt x="3276364" y="1152128"/>
                </a:cubicBezTo>
                <a:cubicBezTo>
                  <a:pt x="2013594" y="1152128"/>
                  <a:pt x="989917" y="2175805"/>
                  <a:pt x="989917" y="3438575"/>
                </a:cubicBezTo>
                <a:cubicBezTo>
                  <a:pt x="989917" y="3557773"/>
                  <a:pt x="999038" y="3674839"/>
                  <a:pt x="1017105" y="3789040"/>
                </a:cubicBezTo>
                <a:lnTo>
                  <a:pt x="40201" y="3789040"/>
                </a:lnTo>
                <a:cubicBezTo>
                  <a:pt x="13631" y="3622036"/>
                  <a:pt x="0" y="3450792"/>
                  <a:pt x="0" y="3276364"/>
                </a:cubicBezTo>
                <a:cubicBezTo>
                  <a:pt x="0" y="1466878"/>
                  <a:pt x="1466878" y="0"/>
                  <a:pt x="3276364" y="0"/>
                </a:cubicBezTo>
                <a:close/>
              </a:path>
            </a:pathLst>
          </a:custGeom>
          <a:solidFill>
            <a:schemeClr val="accent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5" name="椭圆 18"/>
          <p:cNvSpPr/>
          <p:nvPr/>
        </p:nvSpPr>
        <p:spPr>
          <a:xfrm>
            <a:off x="2754412" y="2145301"/>
            <a:ext cx="3634676" cy="2101709"/>
          </a:xfrm>
          <a:custGeom>
            <a:avLst/>
            <a:gdLst/>
            <a:ahLst/>
            <a:cxnLst/>
            <a:rect l="l" t="t" r="r" b="b"/>
            <a:pathLst>
              <a:path w="6120680" h="3539213">
                <a:moveTo>
                  <a:pt x="3060340" y="0"/>
                </a:moveTo>
                <a:cubicBezTo>
                  <a:pt x="4750520" y="0"/>
                  <a:pt x="6120680" y="1370161"/>
                  <a:pt x="6120680" y="3060340"/>
                </a:cubicBezTo>
                <a:cubicBezTo>
                  <a:pt x="6120680" y="3223267"/>
                  <a:pt x="6107949" y="3383220"/>
                  <a:pt x="6083130" y="3539213"/>
                </a:cubicBezTo>
                <a:lnTo>
                  <a:pt x="5462282" y="3539213"/>
                </a:lnTo>
                <a:cubicBezTo>
                  <a:pt x="5481168" y="3419369"/>
                  <a:pt x="5490610" y="3296541"/>
                  <a:pt x="5490610" y="3171507"/>
                </a:cubicBezTo>
                <a:cubicBezTo>
                  <a:pt x="5490610" y="1829306"/>
                  <a:pt x="4402541" y="741237"/>
                  <a:pt x="3060340" y="741237"/>
                </a:cubicBezTo>
                <a:cubicBezTo>
                  <a:pt x="1718139" y="741237"/>
                  <a:pt x="630070" y="1829306"/>
                  <a:pt x="630070" y="3171507"/>
                </a:cubicBezTo>
                <a:cubicBezTo>
                  <a:pt x="630070" y="3296541"/>
                  <a:pt x="639513" y="3419369"/>
                  <a:pt x="658398" y="3539213"/>
                </a:cubicBezTo>
                <a:lnTo>
                  <a:pt x="37550" y="3539213"/>
                </a:lnTo>
                <a:cubicBezTo>
                  <a:pt x="12732" y="3383220"/>
                  <a:pt x="0" y="3223267"/>
                  <a:pt x="0" y="3060340"/>
                </a:cubicBezTo>
                <a:cubicBezTo>
                  <a:pt x="0" y="1370161"/>
                  <a:pt x="1370161" y="0"/>
                  <a:pt x="3060340" y="0"/>
                </a:cubicBezTo>
                <a:close/>
              </a:path>
            </a:pathLst>
          </a:custGeom>
          <a:solidFill>
            <a:schemeClr val="accent1">
              <a:lumMod val="75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6" name="TextBox 42"/>
          <p:cNvSpPr txBox="1"/>
          <p:nvPr/>
        </p:nvSpPr>
        <p:spPr>
          <a:xfrm>
            <a:off x="3676224" y="3207739"/>
            <a:ext cx="1847772" cy="757130"/>
          </a:xfrm>
          <a:prstGeom prst="rect">
            <a:avLst/>
          </a:prstGeom>
          <a:noFill/>
        </p:spPr>
        <p:txBody>
          <a:bodyPr wrap="square" rtlCol="0">
            <a:spAutoFit/>
          </a:bodyPr>
          <a:lstStyle/>
          <a:p>
            <a:pPr algn="ctr">
              <a:lnSpc>
                <a:spcPct val="120000"/>
              </a:lnSpc>
            </a:pPr>
            <a:r>
              <a:rPr lang="zh-CN" altLang="en-US" b="1"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请在此处输</a:t>
            </a:r>
            <a:endParaRPr lang="en-US" altLang="zh-CN" b="1"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pPr algn="ctr">
              <a:lnSpc>
                <a:spcPct val="120000"/>
              </a:lnSpc>
            </a:pPr>
            <a:r>
              <a:rPr lang="zh-CN" altLang="en-US" b="1"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入您的标题</a:t>
            </a:r>
          </a:p>
        </p:txBody>
      </p:sp>
      <p:sp>
        <p:nvSpPr>
          <p:cNvPr id="7" name="TextBox 31"/>
          <p:cNvSpPr txBox="1"/>
          <p:nvPr/>
        </p:nvSpPr>
        <p:spPr>
          <a:xfrm>
            <a:off x="1352638" y="2173165"/>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8" name="TextBox 31"/>
          <p:cNvSpPr txBox="1"/>
          <p:nvPr/>
        </p:nvSpPr>
        <p:spPr>
          <a:xfrm>
            <a:off x="2964700" y="843558"/>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9" name="TextBox 31"/>
          <p:cNvSpPr txBox="1"/>
          <p:nvPr/>
        </p:nvSpPr>
        <p:spPr>
          <a:xfrm>
            <a:off x="920622" y="3659676"/>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10" name="TextBox 31"/>
          <p:cNvSpPr txBox="1"/>
          <p:nvPr/>
        </p:nvSpPr>
        <p:spPr>
          <a:xfrm>
            <a:off x="4892302" y="843558"/>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11" name="TextBox 31"/>
          <p:cNvSpPr txBox="1"/>
          <p:nvPr/>
        </p:nvSpPr>
        <p:spPr>
          <a:xfrm>
            <a:off x="6684986" y="2173165"/>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
        <p:nvSpPr>
          <p:cNvPr id="12" name="任意多边形 11"/>
          <p:cNvSpPr/>
          <p:nvPr/>
        </p:nvSpPr>
        <p:spPr>
          <a:xfrm rot="22680000">
            <a:off x="5134633" y="1481107"/>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3" name="任意多边形 12"/>
          <p:cNvSpPr/>
          <p:nvPr/>
        </p:nvSpPr>
        <p:spPr>
          <a:xfrm rot="20520000">
            <a:off x="3713959" y="1489816"/>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4" name="任意多边形 13"/>
          <p:cNvSpPr/>
          <p:nvPr/>
        </p:nvSpPr>
        <p:spPr>
          <a:xfrm rot="18360000">
            <a:off x="2582027" y="2342286"/>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5" name="任意多边形 14"/>
          <p:cNvSpPr/>
          <p:nvPr/>
        </p:nvSpPr>
        <p:spPr>
          <a:xfrm rot="24840000">
            <a:off x="6275274" y="2324868"/>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6" name="任意多边形 15"/>
          <p:cNvSpPr/>
          <p:nvPr/>
        </p:nvSpPr>
        <p:spPr>
          <a:xfrm rot="27000000">
            <a:off x="6688160" y="3667301"/>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7" name="任意多边形 16"/>
          <p:cNvSpPr/>
          <p:nvPr/>
        </p:nvSpPr>
        <p:spPr>
          <a:xfrm rot="16200000">
            <a:off x="2186559" y="3667301"/>
            <a:ext cx="270008" cy="637236"/>
          </a:xfrm>
          <a:custGeom>
            <a:avLst/>
            <a:gdLst>
              <a:gd name="connsiteX0" fmla="*/ 135004 w 270008"/>
              <a:gd name="connsiteY0" fmla="*/ 0 h 637236"/>
              <a:gd name="connsiteX1" fmla="*/ 270008 w 270008"/>
              <a:gd name="connsiteY1" fmla="*/ 135004 h 637236"/>
              <a:gd name="connsiteX2" fmla="*/ 230467 w 270008"/>
              <a:gd name="connsiteY2" fmla="*/ 230466 h 637236"/>
              <a:gd name="connsiteX3" fmla="*/ 196340 w 270008"/>
              <a:gd name="connsiteY3" fmla="*/ 253475 h 637236"/>
              <a:gd name="connsiteX4" fmla="*/ 196340 w 270008"/>
              <a:gd name="connsiteY4" fmla="*/ 637236 h 637236"/>
              <a:gd name="connsiteX5" fmla="*/ 73669 w 270008"/>
              <a:gd name="connsiteY5" fmla="*/ 637236 h 637236"/>
              <a:gd name="connsiteX6" fmla="*/ 73669 w 270008"/>
              <a:gd name="connsiteY6" fmla="*/ 253476 h 637236"/>
              <a:gd name="connsiteX7" fmla="*/ 39541 w 270008"/>
              <a:gd name="connsiteY7" fmla="*/ 230466 h 637236"/>
              <a:gd name="connsiteX8" fmla="*/ 0 w 270008"/>
              <a:gd name="connsiteY8" fmla="*/ 135004 h 637236"/>
              <a:gd name="connsiteX9" fmla="*/ 135004 w 270008"/>
              <a:gd name="connsiteY9" fmla="*/ 0 h 63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008" h="637236">
                <a:moveTo>
                  <a:pt x="135004" y="0"/>
                </a:moveTo>
                <a:cubicBezTo>
                  <a:pt x="209565" y="0"/>
                  <a:pt x="270008" y="60443"/>
                  <a:pt x="270008" y="135004"/>
                </a:cubicBezTo>
                <a:cubicBezTo>
                  <a:pt x="270008" y="172284"/>
                  <a:pt x="254898" y="206035"/>
                  <a:pt x="230467" y="230466"/>
                </a:cubicBezTo>
                <a:lnTo>
                  <a:pt x="196340" y="253475"/>
                </a:lnTo>
                <a:lnTo>
                  <a:pt x="196340" y="637236"/>
                </a:lnTo>
                <a:lnTo>
                  <a:pt x="73669" y="637236"/>
                </a:lnTo>
                <a:lnTo>
                  <a:pt x="73669" y="253476"/>
                </a:lnTo>
                <a:lnTo>
                  <a:pt x="39541" y="230466"/>
                </a:lnTo>
                <a:cubicBezTo>
                  <a:pt x="15111" y="206035"/>
                  <a:pt x="0" y="172284"/>
                  <a:pt x="0" y="135004"/>
                </a:cubicBezTo>
                <a:cubicBezTo>
                  <a:pt x="0" y="60443"/>
                  <a:pt x="60443" y="0"/>
                  <a:pt x="135004" y="0"/>
                </a:cubicBezTo>
                <a:close/>
              </a:path>
            </a:pathLst>
          </a:custGeom>
          <a:solidFill>
            <a:schemeClr val="accent1"/>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350" b="0" i="0" u="none" strike="noStrike" kern="0" cap="none" spc="0" normalizeH="0" baseline="0" noProof="0" dirty="0">
              <a:ln>
                <a:noFill/>
              </a:ln>
              <a:solidFill>
                <a:srgbClr val="8F0404"/>
              </a:solidFill>
              <a:effectLst/>
              <a:uLnTx/>
              <a:uFillTx/>
              <a:latin typeface="Calibri" panose="020F0502020204030204"/>
              <a:ea typeface="微软雅黑" panose="020B0503020204020204" pitchFamily="34" charset="-122"/>
            </a:endParaRPr>
          </a:p>
        </p:txBody>
      </p:sp>
      <p:sp>
        <p:nvSpPr>
          <p:cNvPr id="18" name="TextBox 31"/>
          <p:cNvSpPr txBox="1"/>
          <p:nvPr/>
        </p:nvSpPr>
        <p:spPr>
          <a:xfrm>
            <a:off x="7146607" y="3659676"/>
            <a:ext cx="1080000" cy="624786"/>
          </a:xfrm>
          <a:prstGeom prst="rect">
            <a:avLst/>
          </a:prstGeom>
          <a:noFill/>
        </p:spPr>
        <p:txBody>
          <a:bodyPr wrap="square" rtlCol="0">
            <a:spAutoFit/>
          </a:bodyPr>
          <a:lstStyle/>
          <a:p>
            <a:pPr algn="ctr">
              <a:lnSpc>
                <a:spcPct val="130000"/>
              </a:lnSpc>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添加文本</a:t>
            </a:r>
          </a:p>
        </p:txBody>
      </p:sp>
    </p:spTree>
  </p:cSld>
  <p:clrMapOvr>
    <a:masterClrMapping/>
  </p:clrMapOvr>
  <p:transition spd="slow" advTm="4101">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grpId="0" nodeType="withEffect">
                                  <p:stCondLst>
                                    <p:cond delay="300"/>
                                  </p:stCondLst>
                                  <p:childTnLst>
                                    <p:set>
                                      <p:cBhvr>
                                        <p:cTn id="9" dur="1" fill="hold">
                                          <p:stCondLst>
                                            <p:cond delay="0"/>
                                          </p:stCondLst>
                                        </p:cTn>
                                        <p:tgtEl>
                                          <p:spTgt spid="5"/>
                                        </p:tgtEl>
                                        <p:attrNameLst>
                                          <p:attrName>style.visibility</p:attrName>
                                        </p:attrNameLst>
                                      </p:cBhvr>
                                      <p:to>
                                        <p:strVal val="visible"/>
                                      </p:to>
                                    </p:set>
                                    <p:animEffect transition="in" filter="wipe(left)">
                                      <p:cBhvr>
                                        <p:cTn id="10" dur="500"/>
                                        <p:tgtEl>
                                          <p:spTgt spid="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1000"/>
                            </p:stCondLst>
                            <p:childTnLst>
                              <p:par>
                                <p:cTn id="16" presetID="22" presetClass="entr" presetSubtype="2" fill="hold" grpId="0"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wipe(right)">
                                      <p:cBhvr>
                                        <p:cTn id="18" dur="500"/>
                                        <p:tgtEl>
                                          <p:spTgt spid="17"/>
                                        </p:tgtEl>
                                      </p:cBhvr>
                                    </p:animEffect>
                                  </p:childTnLst>
                                </p:cTn>
                              </p:par>
                              <p:par>
                                <p:cTn id="19" presetID="10" presetClass="entr" presetSubtype="0" fill="hold" grpId="0" nodeType="withEffect">
                                  <p:stCondLst>
                                    <p:cond delay="40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22" presetClass="entr" presetSubtype="2" fill="hold" grpId="0" nodeType="withEffect">
                                  <p:stCondLst>
                                    <p:cond delay="200"/>
                                  </p:stCondLst>
                                  <p:childTnLst>
                                    <p:set>
                                      <p:cBhvr>
                                        <p:cTn id="23" dur="1" fill="hold">
                                          <p:stCondLst>
                                            <p:cond delay="0"/>
                                          </p:stCondLst>
                                        </p:cTn>
                                        <p:tgtEl>
                                          <p:spTgt spid="14"/>
                                        </p:tgtEl>
                                        <p:attrNameLst>
                                          <p:attrName>style.visibility</p:attrName>
                                        </p:attrNameLst>
                                      </p:cBhvr>
                                      <p:to>
                                        <p:strVal val="visible"/>
                                      </p:to>
                                    </p:set>
                                    <p:animEffect transition="in" filter="wipe(right)">
                                      <p:cBhvr>
                                        <p:cTn id="24" dur="500"/>
                                        <p:tgtEl>
                                          <p:spTgt spid="14"/>
                                        </p:tgtEl>
                                      </p:cBhvr>
                                    </p:animEffect>
                                  </p:childTnLst>
                                </p:cTn>
                              </p:par>
                              <p:par>
                                <p:cTn id="25" presetID="10" presetClass="entr" presetSubtype="0" fill="hold" grpId="0" nodeType="withEffect">
                                  <p:stCondLst>
                                    <p:cond delay="7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22" presetClass="entr" presetSubtype="4" fill="hold" grpId="0" nodeType="withEffect">
                                  <p:stCondLst>
                                    <p:cond delay="400"/>
                                  </p:stCondLst>
                                  <p:childTnLst>
                                    <p:set>
                                      <p:cBhvr>
                                        <p:cTn id="29" dur="1" fill="hold">
                                          <p:stCondLst>
                                            <p:cond delay="0"/>
                                          </p:stCondLst>
                                        </p:cTn>
                                        <p:tgtEl>
                                          <p:spTgt spid="13"/>
                                        </p:tgtEl>
                                        <p:attrNameLst>
                                          <p:attrName>style.visibility</p:attrName>
                                        </p:attrNameLst>
                                      </p:cBhvr>
                                      <p:to>
                                        <p:strVal val="visible"/>
                                      </p:to>
                                    </p:set>
                                    <p:animEffect transition="in" filter="wipe(down)">
                                      <p:cBhvr>
                                        <p:cTn id="30" dur="500"/>
                                        <p:tgtEl>
                                          <p:spTgt spid="13"/>
                                        </p:tgtEl>
                                      </p:cBhvr>
                                    </p:animEffect>
                                  </p:childTnLst>
                                </p:cTn>
                              </p:par>
                              <p:par>
                                <p:cTn id="31" presetID="10" presetClass="entr" presetSubtype="0" fill="hold" grpId="0" nodeType="withEffect">
                                  <p:stCondLst>
                                    <p:cond delay="90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childTnLst>
                                </p:cTn>
                              </p:par>
                              <p:par>
                                <p:cTn id="34" presetID="22" presetClass="entr" presetSubtype="4" fill="hold" grpId="0" nodeType="withEffect">
                                  <p:stCondLst>
                                    <p:cond delay="600"/>
                                  </p:stCondLst>
                                  <p:childTnLst>
                                    <p:set>
                                      <p:cBhvr>
                                        <p:cTn id="35" dur="1" fill="hold">
                                          <p:stCondLst>
                                            <p:cond delay="0"/>
                                          </p:stCondLst>
                                        </p:cTn>
                                        <p:tgtEl>
                                          <p:spTgt spid="12"/>
                                        </p:tgtEl>
                                        <p:attrNameLst>
                                          <p:attrName>style.visibility</p:attrName>
                                        </p:attrNameLst>
                                      </p:cBhvr>
                                      <p:to>
                                        <p:strVal val="visible"/>
                                      </p:to>
                                    </p:set>
                                    <p:animEffect transition="in" filter="wipe(down)">
                                      <p:cBhvr>
                                        <p:cTn id="36" dur="500"/>
                                        <p:tgtEl>
                                          <p:spTgt spid="12"/>
                                        </p:tgtEl>
                                      </p:cBhvr>
                                    </p:animEffect>
                                  </p:childTnLst>
                                </p:cTn>
                              </p:par>
                              <p:par>
                                <p:cTn id="37" presetID="10" presetClass="entr" presetSubtype="0" fill="hold" grpId="0" nodeType="withEffect">
                                  <p:stCondLst>
                                    <p:cond delay="1100"/>
                                  </p:stCondLst>
                                  <p:childTnLst>
                                    <p:set>
                                      <p:cBhvr>
                                        <p:cTn id="38" dur="1" fill="hold">
                                          <p:stCondLst>
                                            <p:cond delay="0"/>
                                          </p:stCondLst>
                                        </p:cTn>
                                        <p:tgtEl>
                                          <p:spTgt spid="10"/>
                                        </p:tgtEl>
                                        <p:attrNameLst>
                                          <p:attrName>style.visibility</p:attrName>
                                        </p:attrNameLst>
                                      </p:cBhvr>
                                      <p:to>
                                        <p:strVal val="visible"/>
                                      </p:to>
                                    </p:set>
                                    <p:animEffect transition="in" filter="fade">
                                      <p:cBhvr>
                                        <p:cTn id="39" dur="500"/>
                                        <p:tgtEl>
                                          <p:spTgt spid="10"/>
                                        </p:tgtEl>
                                      </p:cBhvr>
                                    </p:animEffect>
                                  </p:childTnLst>
                                </p:cTn>
                              </p:par>
                              <p:par>
                                <p:cTn id="40" presetID="22" presetClass="entr" presetSubtype="8" fill="hold" grpId="0" nodeType="withEffect">
                                  <p:stCondLst>
                                    <p:cond delay="700"/>
                                  </p:stCondLst>
                                  <p:childTnLst>
                                    <p:set>
                                      <p:cBhvr>
                                        <p:cTn id="41" dur="1" fill="hold">
                                          <p:stCondLst>
                                            <p:cond delay="0"/>
                                          </p:stCondLst>
                                        </p:cTn>
                                        <p:tgtEl>
                                          <p:spTgt spid="15"/>
                                        </p:tgtEl>
                                        <p:attrNameLst>
                                          <p:attrName>style.visibility</p:attrName>
                                        </p:attrNameLst>
                                      </p:cBhvr>
                                      <p:to>
                                        <p:strVal val="visible"/>
                                      </p:to>
                                    </p:set>
                                    <p:animEffect transition="in" filter="wipe(left)">
                                      <p:cBhvr>
                                        <p:cTn id="42" dur="500"/>
                                        <p:tgtEl>
                                          <p:spTgt spid="15"/>
                                        </p:tgtEl>
                                      </p:cBhvr>
                                    </p:animEffect>
                                  </p:childTnLst>
                                </p:cTn>
                              </p:par>
                              <p:par>
                                <p:cTn id="43" presetID="10" presetClass="entr" presetSubtype="0" fill="hold" grpId="0" nodeType="withEffect">
                                  <p:stCondLst>
                                    <p:cond delay="12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22" presetClass="entr" presetSubtype="8" fill="hold" grpId="0" nodeType="withEffect">
                                  <p:stCondLst>
                                    <p:cond delay="900"/>
                                  </p:stCondLst>
                                  <p:childTnLst>
                                    <p:set>
                                      <p:cBhvr>
                                        <p:cTn id="47" dur="1" fill="hold">
                                          <p:stCondLst>
                                            <p:cond delay="0"/>
                                          </p:stCondLst>
                                        </p:cTn>
                                        <p:tgtEl>
                                          <p:spTgt spid="16"/>
                                        </p:tgtEl>
                                        <p:attrNameLst>
                                          <p:attrName>style.visibility</p:attrName>
                                        </p:attrNameLst>
                                      </p:cBhvr>
                                      <p:to>
                                        <p:strVal val="visible"/>
                                      </p:to>
                                    </p:set>
                                    <p:animEffect transition="in" filter="wipe(left)">
                                      <p:cBhvr>
                                        <p:cTn id="48" dur="500"/>
                                        <p:tgtEl>
                                          <p:spTgt spid="16"/>
                                        </p:tgtEl>
                                      </p:cBhvr>
                                    </p:animEffect>
                                  </p:childTnLst>
                                </p:cTn>
                              </p:par>
                              <p:par>
                                <p:cTn id="49" presetID="10" presetClass="entr" presetSubtype="0" fill="hold" grpId="0" nodeType="withEffect">
                                  <p:stCondLst>
                                    <p:cond delay="140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p:bldP spid="7" grpId="0"/>
      <p:bldP spid="8" grpId="0"/>
      <p:bldP spid="9" grpId="0"/>
      <p:bldP spid="10" grpId="0"/>
      <p:bldP spid="11" grpId="0"/>
      <p:bldP spid="12" grpId="0" animBg="1"/>
      <p:bldP spid="13" grpId="0" animBg="1"/>
      <p:bldP spid="14" grpId="0" animBg="1"/>
      <p:bldP spid="15" grpId="0" animBg="1"/>
      <p:bldP spid="16" grpId="0" animBg="1"/>
      <p:bldP spid="17" grpId="0" animBg="1"/>
      <p:bldP spid="1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30" name="任意多边形 29"/>
          <p:cNvSpPr/>
          <p:nvPr/>
        </p:nvSpPr>
        <p:spPr>
          <a:xfrm>
            <a:off x="2222653" y="1534137"/>
            <a:ext cx="1897267" cy="1186674"/>
          </a:xfrm>
          <a:custGeom>
            <a:avLst/>
            <a:gdLst>
              <a:gd name="connsiteX0" fmla="*/ 1058934 w 2176298"/>
              <a:gd name="connsiteY0" fmla="*/ 365 h 1361198"/>
              <a:gd name="connsiteX1" fmla="*/ 1369736 w 2176298"/>
              <a:gd name="connsiteY1" fmla="*/ 37253 h 1361198"/>
              <a:gd name="connsiteX2" fmla="*/ 1378058 w 2176298"/>
              <a:gd name="connsiteY2" fmla="*/ 39914 h 1361198"/>
              <a:gd name="connsiteX3" fmla="*/ 1469179 w 2176298"/>
              <a:gd name="connsiteY3" fmla="*/ 69053 h 1361198"/>
              <a:gd name="connsiteX4" fmla="*/ 2030357 w 2176298"/>
              <a:gd name="connsiteY4" fmla="*/ 544165 h 1361198"/>
              <a:gd name="connsiteX5" fmla="*/ 2161227 w 2176298"/>
              <a:gd name="connsiteY5" fmla="*/ 1267715 h 1361198"/>
              <a:gd name="connsiteX6" fmla="*/ 2140901 w 2176298"/>
              <a:gd name="connsiteY6" fmla="*/ 1361198 h 1361198"/>
              <a:gd name="connsiteX7" fmla="*/ 2139045 w 2176298"/>
              <a:gd name="connsiteY7" fmla="*/ 1352661 h 1361198"/>
              <a:gd name="connsiteX8" fmla="*/ 1725660 w 2176298"/>
              <a:gd name="connsiteY8" fmla="*/ 752525 h 1361198"/>
              <a:gd name="connsiteX9" fmla="*/ 1699155 w 2176298"/>
              <a:gd name="connsiteY9" fmla="*/ 735384 h 1361198"/>
              <a:gd name="connsiteX10" fmla="*/ 1632133 w 2176298"/>
              <a:gd name="connsiteY10" fmla="*/ 692041 h 1361198"/>
              <a:gd name="connsiteX11" fmla="*/ 1117365 w 2176298"/>
              <a:gd name="connsiteY11" fmla="*/ 546465 h 1361198"/>
              <a:gd name="connsiteX12" fmla="*/ 1085186 w 2176298"/>
              <a:gd name="connsiteY12" fmla="*/ 547184 h 1361198"/>
              <a:gd name="connsiteX13" fmla="*/ 1012432 w 2176298"/>
              <a:gd name="connsiteY13" fmla="*/ 548808 h 1361198"/>
              <a:gd name="connsiteX14" fmla="*/ 707120 w 2176298"/>
              <a:gd name="connsiteY14" fmla="*/ 615152 h 1361198"/>
              <a:gd name="connsiteX15" fmla="*/ 615214 w 2176298"/>
              <a:gd name="connsiteY15" fmla="*/ 654565 h 1361198"/>
              <a:gd name="connsiteX16" fmla="*/ 611003 w 2176298"/>
              <a:gd name="connsiteY16" fmla="*/ 656371 h 1361198"/>
              <a:gd name="connsiteX17" fmla="*/ 350066 w 2176298"/>
              <a:gd name="connsiteY17" fmla="*/ 834537 h 1361198"/>
              <a:gd name="connsiteX18" fmla="*/ 325575 w 2176298"/>
              <a:gd name="connsiteY18" fmla="*/ 859529 h 1361198"/>
              <a:gd name="connsiteX19" fmla="*/ 274716 w 2176298"/>
              <a:gd name="connsiteY19" fmla="*/ 911428 h 1361198"/>
              <a:gd name="connsiteX20" fmla="*/ 145942 w 2176298"/>
              <a:gd name="connsiteY20" fmla="*/ 1090264 h 1361198"/>
              <a:gd name="connsiteX21" fmla="*/ 55453 w 2176298"/>
              <a:gd name="connsiteY21" fmla="*/ 1291204 h 1361198"/>
              <a:gd name="connsiteX22" fmla="*/ 35936 w 2176298"/>
              <a:gd name="connsiteY22" fmla="*/ 1361198 h 1361198"/>
              <a:gd name="connsiteX23" fmla="*/ 26538 w 2176298"/>
              <a:gd name="connsiteY23" fmla="*/ 1327492 h 1361198"/>
              <a:gd name="connsiteX24" fmla="*/ 2710 w 2176298"/>
              <a:gd name="connsiteY24" fmla="*/ 1012431 h 1361198"/>
              <a:gd name="connsiteX25" fmla="*/ 3252 w 2176298"/>
              <a:gd name="connsiteY25" fmla="*/ 1007881 h 1361198"/>
              <a:gd name="connsiteX26" fmla="*/ 15072 w 2176298"/>
              <a:gd name="connsiteY26" fmla="*/ 908581 h 1361198"/>
              <a:gd name="connsiteX27" fmla="*/ 110273 w 2176298"/>
              <a:gd name="connsiteY27" fmla="*/ 611002 h 1361198"/>
              <a:gd name="connsiteX28" fmla="*/ 145243 w 2176298"/>
              <a:gd name="connsiteY28" fmla="*/ 547183 h 1361198"/>
              <a:gd name="connsiteX29" fmla="*/ 160710 w 2176298"/>
              <a:gd name="connsiteY29" fmla="*/ 518955 h 1361198"/>
              <a:gd name="connsiteX30" fmla="*/ 544166 w 2176298"/>
              <a:gd name="connsiteY30" fmla="*/ 145941 h 1361198"/>
              <a:gd name="connsiteX31" fmla="*/ 615215 w 2176298"/>
              <a:gd name="connsiteY31" fmla="*/ 109569 h 1361198"/>
              <a:gd name="connsiteX32" fmla="*/ 643310 w 2176298"/>
              <a:gd name="connsiteY32" fmla="*/ 95186 h 1361198"/>
              <a:gd name="connsiteX33" fmla="*/ 1058934 w 2176298"/>
              <a:gd name="connsiteY33" fmla="*/ 365 h 136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176298" h="1361198">
                <a:moveTo>
                  <a:pt x="1058934" y="365"/>
                </a:moveTo>
                <a:cubicBezTo>
                  <a:pt x="1164160" y="-2367"/>
                  <a:pt x="1268881" y="10229"/>
                  <a:pt x="1369736" y="37253"/>
                </a:cubicBezTo>
                <a:lnTo>
                  <a:pt x="1378058" y="39914"/>
                </a:lnTo>
                <a:lnTo>
                  <a:pt x="1469179" y="69053"/>
                </a:lnTo>
                <a:cubicBezTo>
                  <a:pt x="1697623" y="154319"/>
                  <a:pt x="1898917" y="316505"/>
                  <a:pt x="2030357" y="544165"/>
                </a:cubicBezTo>
                <a:cubicBezTo>
                  <a:pt x="2161797" y="771826"/>
                  <a:pt x="2201606" y="1027244"/>
                  <a:pt x="2161227" y="1267715"/>
                </a:cubicBezTo>
                <a:lnTo>
                  <a:pt x="2140901" y="1361198"/>
                </a:lnTo>
                <a:lnTo>
                  <a:pt x="2139045" y="1352661"/>
                </a:lnTo>
                <a:cubicBezTo>
                  <a:pt x="2075989" y="1117332"/>
                  <a:pt x="1934380" y="903052"/>
                  <a:pt x="1725660" y="752525"/>
                </a:cubicBezTo>
                <a:lnTo>
                  <a:pt x="1699155" y="735384"/>
                </a:lnTo>
                <a:lnTo>
                  <a:pt x="1632133" y="692041"/>
                </a:lnTo>
                <a:cubicBezTo>
                  <a:pt x="1469519" y="598156"/>
                  <a:pt x="1292741" y="551020"/>
                  <a:pt x="1117365" y="546465"/>
                </a:cubicBezTo>
                <a:lnTo>
                  <a:pt x="1085186" y="547184"/>
                </a:lnTo>
                <a:lnTo>
                  <a:pt x="1012432" y="548808"/>
                </a:lnTo>
                <a:cubicBezTo>
                  <a:pt x="907916" y="556195"/>
                  <a:pt x="805025" y="578610"/>
                  <a:pt x="707120" y="615152"/>
                </a:cubicBezTo>
                <a:lnTo>
                  <a:pt x="615214" y="654565"/>
                </a:lnTo>
                <a:lnTo>
                  <a:pt x="611003" y="656371"/>
                </a:lnTo>
                <a:cubicBezTo>
                  <a:pt x="516796" y="702232"/>
                  <a:pt x="428697" y="761921"/>
                  <a:pt x="350066" y="834537"/>
                </a:cubicBezTo>
                <a:lnTo>
                  <a:pt x="325575" y="859529"/>
                </a:lnTo>
                <a:lnTo>
                  <a:pt x="274716" y="911428"/>
                </a:lnTo>
                <a:cubicBezTo>
                  <a:pt x="226753" y="965517"/>
                  <a:pt x="183496" y="1025218"/>
                  <a:pt x="145942" y="1090264"/>
                </a:cubicBezTo>
                <a:cubicBezTo>
                  <a:pt x="108388" y="1155310"/>
                  <a:pt x="78314" y="1222622"/>
                  <a:pt x="55453" y="1291204"/>
                </a:cubicBezTo>
                <a:lnTo>
                  <a:pt x="35936" y="1361198"/>
                </a:lnTo>
                <a:lnTo>
                  <a:pt x="26538" y="1327492"/>
                </a:lnTo>
                <a:cubicBezTo>
                  <a:pt x="2966" y="1223088"/>
                  <a:pt x="-4676" y="1116947"/>
                  <a:pt x="2710" y="1012431"/>
                </a:cubicBezTo>
                <a:lnTo>
                  <a:pt x="3252" y="1007881"/>
                </a:lnTo>
                <a:lnTo>
                  <a:pt x="15072" y="908581"/>
                </a:lnTo>
                <a:cubicBezTo>
                  <a:pt x="32378" y="805522"/>
                  <a:pt x="64411" y="705208"/>
                  <a:pt x="110273" y="611002"/>
                </a:cubicBezTo>
                <a:lnTo>
                  <a:pt x="145243" y="547183"/>
                </a:lnTo>
                <a:lnTo>
                  <a:pt x="160710" y="518955"/>
                </a:lnTo>
                <a:cubicBezTo>
                  <a:pt x="252343" y="369353"/>
                  <a:pt x="381551" y="239827"/>
                  <a:pt x="544166" y="145941"/>
                </a:cubicBezTo>
                <a:lnTo>
                  <a:pt x="615215" y="109569"/>
                </a:lnTo>
                <a:lnTo>
                  <a:pt x="643310" y="95186"/>
                </a:lnTo>
                <a:cubicBezTo>
                  <a:pt x="777436" y="34905"/>
                  <a:pt x="918633" y="4009"/>
                  <a:pt x="1058934" y="365"/>
                </a:cubicBezTo>
                <a:close/>
              </a:path>
            </a:pathLst>
          </a:cu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0" tIns="72000" rIns="0" bIns="0" rtlCol="0" anchor="t" anchorCtr="0">
            <a:noAutofit/>
          </a:bodyPr>
          <a:lstStyle/>
          <a:p>
            <a:pPr algn="ctr"/>
            <a:r>
              <a:rPr lang="zh-CN" altLang="en-US" sz="2000" dirty="0">
                <a:latin typeface="微软雅黑" panose="020B0503020204020204" pitchFamily="34" charset="-122"/>
                <a:ea typeface="微软雅黑" panose="020B0503020204020204" pitchFamily="34" charset="-122"/>
              </a:rPr>
              <a:t>标题</a:t>
            </a:r>
          </a:p>
        </p:txBody>
      </p:sp>
      <p:sp>
        <p:nvSpPr>
          <p:cNvPr id="31" name="任意多边形 30"/>
          <p:cNvSpPr/>
          <p:nvPr/>
        </p:nvSpPr>
        <p:spPr>
          <a:xfrm>
            <a:off x="1398056" y="2720810"/>
            <a:ext cx="1897266" cy="1186676"/>
          </a:xfrm>
          <a:custGeom>
            <a:avLst/>
            <a:gdLst>
              <a:gd name="connsiteX0" fmla="*/ 35396 w 2176296"/>
              <a:gd name="connsiteY0" fmla="*/ 0 h 1361200"/>
              <a:gd name="connsiteX1" fmla="*/ 37253 w 2176296"/>
              <a:gd name="connsiteY1" fmla="*/ 8538 h 1361200"/>
              <a:gd name="connsiteX2" fmla="*/ 450638 w 2176296"/>
              <a:gd name="connsiteY2" fmla="*/ 608675 h 1361200"/>
              <a:gd name="connsiteX3" fmla="*/ 477141 w 2176296"/>
              <a:gd name="connsiteY3" fmla="*/ 625815 h 1361200"/>
              <a:gd name="connsiteX4" fmla="*/ 544165 w 2176296"/>
              <a:gd name="connsiteY4" fmla="*/ 669159 h 1361200"/>
              <a:gd name="connsiteX5" fmla="*/ 1058933 w 2176296"/>
              <a:gd name="connsiteY5" fmla="*/ 814735 h 1361200"/>
              <a:gd name="connsiteX6" fmla="*/ 1091112 w 2176296"/>
              <a:gd name="connsiteY6" fmla="*/ 814016 h 1361200"/>
              <a:gd name="connsiteX7" fmla="*/ 1163866 w 2176296"/>
              <a:gd name="connsiteY7" fmla="*/ 812391 h 1361200"/>
              <a:gd name="connsiteX8" fmla="*/ 1469177 w 2176296"/>
              <a:gd name="connsiteY8" fmla="*/ 746047 h 1361200"/>
              <a:gd name="connsiteX9" fmla="*/ 1561083 w 2176296"/>
              <a:gd name="connsiteY9" fmla="*/ 706634 h 1361200"/>
              <a:gd name="connsiteX10" fmla="*/ 1565295 w 2176296"/>
              <a:gd name="connsiteY10" fmla="*/ 704828 h 1361200"/>
              <a:gd name="connsiteX11" fmla="*/ 1826231 w 2176296"/>
              <a:gd name="connsiteY11" fmla="*/ 526662 h 1361200"/>
              <a:gd name="connsiteX12" fmla="*/ 1850722 w 2176296"/>
              <a:gd name="connsiteY12" fmla="*/ 501670 h 1361200"/>
              <a:gd name="connsiteX13" fmla="*/ 1901581 w 2176296"/>
              <a:gd name="connsiteY13" fmla="*/ 449771 h 1361200"/>
              <a:gd name="connsiteX14" fmla="*/ 2030355 w 2176296"/>
              <a:gd name="connsiteY14" fmla="*/ 270935 h 1361200"/>
              <a:gd name="connsiteX15" fmla="*/ 2120844 w 2176296"/>
              <a:gd name="connsiteY15" fmla="*/ 69995 h 1361200"/>
              <a:gd name="connsiteX16" fmla="*/ 2140361 w 2176296"/>
              <a:gd name="connsiteY16" fmla="*/ 2 h 1361200"/>
              <a:gd name="connsiteX17" fmla="*/ 2149759 w 2176296"/>
              <a:gd name="connsiteY17" fmla="*/ 33708 h 1361200"/>
              <a:gd name="connsiteX18" fmla="*/ 2173587 w 2176296"/>
              <a:gd name="connsiteY18" fmla="*/ 348769 h 1361200"/>
              <a:gd name="connsiteX19" fmla="*/ 2173046 w 2176296"/>
              <a:gd name="connsiteY19" fmla="*/ 353318 h 1361200"/>
              <a:gd name="connsiteX20" fmla="*/ 2161225 w 2176296"/>
              <a:gd name="connsiteY20" fmla="*/ 452618 h 1361200"/>
              <a:gd name="connsiteX21" fmla="*/ 2066024 w 2176296"/>
              <a:gd name="connsiteY21" fmla="*/ 750198 h 1361200"/>
              <a:gd name="connsiteX22" fmla="*/ 2031055 w 2176296"/>
              <a:gd name="connsiteY22" fmla="*/ 814017 h 1361200"/>
              <a:gd name="connsiteX23" fmla="*/ 2015587 w 2176296"/>
              <a:gd name="connsiteY23" fmla="*/ 842244 h 1361200"/>
              <a:gd name="connsiteX24" fmla="*/ 1632131 w 2176296"/>
              <a:gd name="connsiteY24" fmla="*/ 1215258 h 1361200"/>
              <a:gd name="connsiteX25" fmla="*/ 1561083 w 2176296"/>
              <a:gd name="connsiteY25" fmla="*/ 1251630 h 1361200"/>
              <a:gd name="connsiteX26" fmla="*/ 1532987 w 2176296"/>
              <a:gd name="connsiteY26" fmla="*/ 1266013 h 1361200"/>
              <a:gd name="connsiteX27" fmla="*/ 806561 w 2176296"/>
              <a:gd name="connsiteY27" fmla="*/ 1323947 h 1361200"/>
              <a:gd name="connsiteX28" fmla="*/ 798239 w 2176296"/>
              <a:gd name="connsiteY28" fmla="*/ 1321286 h 1361200"/>
              <a:gd name="connsiteX29" fmla="*/ 707119 w 2176296"/>
              <a:gd name="connsiteY29" fmla="*/ 1292147 h 1361200"/>
              <a:gd name="connsiteX30" fmla="*/ 145941 w 2176296"/>
              <a:gd name="connsiteY30" fmla="*/ 817035 h 1361200"/>
              <a:gd name="connsiteX31" fmla="*/ 15071 w 2176296"/>
              <a:gd name="connsiteY31" fmla="*/ 93484 h 136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76296" h="1361200">
                <a:moveTo>
                  <a:pt x="35396" y="0"/>
                </a:moveTo>
                <a:lnTo>
                  <a:pt x="37253" y="8538"/>
                </a:lnTo>
                <a:cubicBezTo>
                  <a:pt x="100309" y="243868"/>
                  <a:pt x="241918" y="458149"/>
                  <a:pt x="450638" y="608675"/>
                </a:cubicBezTo>
                <a:lnTo>
                  <a:pt x="477141" y="625815"/>
                </a:lnTo>
                <a:lnTo>
                  <a:pt x="544165" y="669159"/>
                </a:lnTo>
                <a:cubicBezTo>
                  <a:pt x="706780" y="763045"/>
                  <a:pt x="883557" y="810180"/>
                  <a:pt x="1058933" y="814735"/>
                </a:cubicBezTo>
                <a:lnTo>
                  <a:pt x="1091112" y="814016"/>
                </a:lnTo>
                <a:lnTo>
                  <a:pt x="1163866" y="812391"/>
                </a:lnTo>
                <a:cubicBezTo>
                  <a:pt x="1268382" y="805005"/>
                  <a:pt x="1371273" y="782590"/>
                  <a:pt x="1469177" y="746047"/>
                </a:cubicBezTo>
                <a:lnTo>
                  <a:pt x="1561083" y="706634"/>
                </a:lnTo>
                <a:lnTo>
                  <a:pt x="1565295" y="704828"/>
                </a:lnTo>
                <a:cubicBezTo>
                  <a:pt x="1659501" y="658967"/>
                  <a:pt x="1747601" y="599278"/>
                  <a:pt x="1826231" y="526662"/>
                </a:cubicBezTo>
                <a:lnTo>
                  <a:pt x="1850722" y="501670"/>
                </a:lnTo>
                <a:lnTo>
                  <a:pt x="1901581" y="449771"/>
                </a:lnTo>
                <a:cubicBezTo>
                  <a:pt x="1949544" y="395682"/>
                  <a:pt x="1992801" y="335981"/>
                  <a:pt x="2030355" y="270935"/>
                </a:cubicBezTo>
                <a:cubicBezTo>
                  <a:pt x="2067909" y="205889"/>
                  <a:pt x="2097984" y="138578"/>
                  <a:pt x="2120844" y="69995"/>
                </a:cubicBezTo>
                <a:lnTo>
                  <a:pt x="2140361" y="2"/>
                </a:lnTo>
                <a:lnTo>
                  <a:pt x="2149759" y="33708"/>
                </a:lnTo>
                <a:cubicBezTo>
                  <a:pt x="2173331" y="138112"/>
                  <a:pt x="2180974" y="244253"/>
                  <a:pt x="2173587" y="348769"/>
                </a:cubicBezTo>
                <a:lnTo>
                  <a:pt x="2173046" y="353318"/>
                </a:lnTo>
                <a:lnTo>
                  <a:pt x="2161225" y="452618"/>
                </a:lnTo>
                <a:cubicBezTo>
                  <a:pt x="2143920" y="555678"/>
                  <a:pt x="2111886" y="655991"/>
                  <a:pt x="2066024" y="750198"/>
                </a:cubicBezTo>
                <a:lnTo>
                  <a:pt x="2031055" y="814017"/>
                </a:lnTo>
                <a:lnTo>
                  <a:pt x="2015587" y="842244"/>
                </a:lnTo>
                <a:cubicBezTo>
                  <a:pt x="1923955" y="991847"/>
                  <a:pt x="1794746" y="1121373"/>
                  <a:pt x="1632131" y="1215258"/>
                </a:cubicBezTo>
                <a:lnTo>
                  <a:pt x="1561083" y="1251630"/>
                </a:lnTo>
                <a:lnTo>
                  <a:pt x="1532987" y="1266013"/>
                </a:lnTo>
                <a:cubicBezTo>
                  <a:pt x="1298267" y="1371506"/>
                  <a:pt x="1041890" y="1387003"/>
                  <a:pt x="806561" y="1323947"/>
                </a:cubicBezTo>
                <a:lnTo>
                  <a:pt x="798239" y="1321286"/>
                </a:lnTo>
                <a:lnTo>
                  <a:pt x="707119" y="1292147"/>
                </a:lnTo>
                <a:cubicBezTo>
                  <a:pt x="478676" y="1206881"/>
                  <a:pt x="277381" y="1044696"/>
                  <a:pt x="145941" y="817035"/>
                </a:cubicBezTo>
                <a:cubicBezTo>
                  <a:pt x="14501" y="589375"/>
                  <a:pt x="-25308" y="333956"/>
                  <a:pt x="15071" y="93484"/>
                </a:cubicBezTo>
                <a:close/>
              </a:path>
            </a:pathLst>
          </a:cu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lIns="0" tIns="648000" rIns="0" bIns="0" rtlCol="0" anchor="ctr" anchorCtr="0">
            <a:noAutofit/>
          </a:bodyPr>
          <a:lstStyle/>
          <a:p>
            <a:pPr algn="ctr"/>
            <a:r>
              <a:rPr lang="zh-CN" altLang="en-US" sz="2000" dirty="0">
                <a:latin typeface="微软雅黑" panose="020B0503020204020204" pitchFamily="34" charset="-122"/>
                <a:ea typeface="微软雅黑" panose="020B0503020204020204" pitchFamily="34" charset="-122"/>
              </a:rPr>
              <a:t>标题</a:t>
            </a:r>
          </a:p>
        </p:txBody>
      </p:sp>
      <p:sp>
        <p:nvSpPr>
          <p:cNvPr id="32" name="任意多边形 31"/>
          <p:cNvSpPr/>
          <p:nvPr/>
        </p:nvSpPr>
        <p:spPr>
          <a:xfrm rot="19274417">
            <a:off x="1687800" y="1341781"/>
            <a:ext cx="1890176" cy="1502699"/>
          </a:xfrm>
          <a:custGeom>
            <a:avLst/>
            <a:gdLst>
              <a:gd name="connsiteX0" fmla="*/ 1542306 w 1890176"/>
              <a:gd name="connsiteY0" fmla="*/ 208908 h 1502699"/>
              <a:gd name="connsiteX1" fmla="*/ 1877166 w 1890176"/>
              <a:gd name="connsiteY1" fmla="*/ 755507 h 1502699"/>
              <a:gd name="connsiteX2" fmla="*/ 1890176 w 1890176"/>
              <a:gd name="connsiteY2" fmla="*/ 837888 h 1502699"/>
              <a:gd name="connsiteX3" fmla="*/ 1885971 w 1890176"/>
              <a:gd name="connsiteY3" fmla="*/ 831537 h 1502699"/>
              <a:gd name="connsiteX4" fmla="*/ 1360527 w 1890176"/>
              <a:gd name="connsiteY4" fmla="*/ 474446 h 1502699"/>
              <a:gd name="connsiteX5" fmla="*/ 1333578 w 1890176"/>
              <a:gd name="connsiteY5" fmla="*/ 468890 h 1502699"/>
              <a:gd name="connsiteX6" fmla="*/ 1265428 w 1890176"/>
              <a:gd name="connsiteY6" fmla="*/ 454838 h 1502699"/>
              <a:gd name="connsiteX7" fmla="*/ 801168 w 1890176"/>
              <a:gd name="connsiteY7" fmla="*/ 499128 h 1502699"/>
              <a:gd name="connsiteX8" fmla="*/ 775247 w 1890176"/>
              <a:gd name="connsiteY8" fmla="*/ 509876 h 1502699"/>
              <a:gd name="connsiteX9" fmla="*/ 716643 w 1890176"/>
              <a:gd name="connsiteY9" fmla="*/ 534173 h 1502699"/>
              <a:gd name="connsiteX10" fmla="*/ 489510 w 1890176"/>
              <a:gd name="connsiteY10" fmla="*/ 684509 h 1502699"/>
              <a:gd name="connsiteX11" fmla="*/ 427279 w 1890176"/>
              <a:gd name="connsiteY11" fmla="*/ 745561 h 1502699"/>
              <a:gd name="connsiteX12" fmla="*/ 424427 w 1890176"/>
              <a:gd name="connsiteY12" fmla="*/ 748359 h 1502699"/>
              <a:gd name="connsiteX13" fmla="*/ 268669 w 1890176"/>
              <a:gd name="connsiteY13" fmla="*/ 975542 h 1502699"/>
              <a:gd name="connsiteX14" fmla="*/ 256661 w 1890176"/>
              <a:gd name="connsiteY14" fmla="*/ 1003585 h 1502699"/>
              <a:gd name="connsiteX15" fmla="*/ 231727 w 1890176"/>
              <a:gd name="connsiteY15" fmla="*/ 1061819 h 1502699"/>
              <a:gd name="connsiteX16" fmla="*/ 183571 w 1890176"/>
              <a:gd name="connsiteY16" fmla="*/ 1247806 h 1502699"/>
              <a:gd name="connsiteX17" fmla="*/ 173505 w 1890176"/>
              <a:gd name="connsiteY17" fmla="*/ 1439662 h 1502699"/>
              <a:gd name="connsiteX18" fmla="*/ 179753 w 1890176"/>
              <a:gd name="connsiteY18" fmla="*/ 1502699 h 1502699"/>
              <a:gd name="connsiteX19" fmla="*/ 161472 w 1890176"/>
              <a:gd name="connsiteY19" fmla="*/ 1478279 h 1502699"/>
              <a:gd name="connsiteX20" fmla="*/ 42604 w 1890176"/>
              <a:gd name="connsiteY20" fmla="*/ 1229797 h 1502699"/>
              <a:gd name="connsiteX21" fmla="*/ 41607 w 1890176"/>
              <a:gd name="connsiteY21" fmla="*/ 1225930 h 1502699"/>
              <a:gd name="connsiteX22" fmla="*/ 19850 w 1890176"/>
              <a:gd name="connsiteY22" fmla="*/ 1141508 h 1502699"/>
              <a:gd name="connsiteX23" fmla="*/ 3222 w 1890176"/>
              <a:gd name="connsiteY23" fmla="*/ 869639 h 1502699"/>
              <a:gd name="connsiteX24" fmla="*/ 11481 w 1890176"/>
              <a:gd name="connsiteY24" fmla="*/ 806737 h 1502699"/>
              <a:gd name="connsiteX25" fmla="*/ 15134 w 1890176"/>
              <a:gd name="connsiteY25" fmla="*/ 778916 h 1502699"/>
              <a:gd name="connsiteX26" fmla="*/ 208908 w 1890176"/>
              <a:gd name="connsiteY26" fmla="*/ 354710 h 1502699"/>
              <a:gd name="connsiteX27" fmla="*/ 255152 w 1890176"/>
              <a:gd name="connsiteY27" fmla="*/ 302716 h 1502699"/>
              <a:gd name="connsiteX28" fmla="*/ 273439 w 1890176"/>
              <a:gd name="connsiteY28" fmla="*/ 282156 h 1502699"/>
              <a:gd name="connsiteX29" fmla="*/ 845411 w 1890176"/>
              <a:gd name="connsiteY29" fmla="*/ 5652 h 1502699"/>
              <a:gd name="connsiteX30" fmla="*/ 853013 w 1890176"/>
              <a:gd name="connsiteY30" fmla="*/ 5186 h 1502699"/>
              <a:gd name="connsiteX31" fmla="*/ 936257 w 1890176"/>
              <a:gd name="connsiteY31" fmla="*/ 86 h 1502699"/>
              <a:gd name="connsiteX32" fmla="*/ 1542306 w 1890176"/>
              <a:gd name="connsiteY32" fmla="*/ 208908 h 150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90176" h="1502699">
                <a:moveTo>
                  <a:pt x="1542306" y="208908"/>
                </a:moveTo>
                <a:cubicBezTo>
                  <a:pt x="1721012" y="352384"/>
                  <a:pt x="1834029" y="547356"/>
                  <a:pt x="1877166" y="755507"/>
                </a:cubicBezTo>
                <a:lnTo>
                  <a:pt x="1890176" y="837888"/>
                </a:lnTo>
                <a:lnTo>
                  <a:pt x="1885971" y="831537"/>
                </a:lnTo>
                <a:cubicBezTo>
                  <a:pt x="1760410" y="660232"/>
                  <a:pt x="1577667" y="530839"/>
                  <a:pt x="1360527" y="474446"/>
                </a:cubicBezTo>
                <a:lnTo>
                  <a:pt x="1333578" y="468890"/>
                </a:lnTo>
                <a:lnTo>
                  <a:pt x="1265428" y="454838"/>
                </a:lnTo>
                <a:cubicBezTo>
                  <a:pt x="1103640" y="429909"/>
                  <a:pt x="945111" y="447440"/>
                  <a:pt x="801168" y="499128"/>
                </a:cubicBezTo>
                <a:lnTo>
                  <a:pt x="775247" y="509876"/>
                </a:lnTo>
                <a:lnTo>
                  <a:pt x="716643" y="534173"/>
                </a:lnTo>
                <a:cubicBezTo>
                  <a:pt x="634049" y="573184"/>
                  <a:pt x="557523" y="623894"/>
                  <a:pt x="489510" y="684509"/>
                </a:cubicBezTo>
                <a:lnTo>
                  <a:pt x="427279" y="745561"/>
                </a:lnTo>
                <a:cubicBezTo>
                  <a:pt x="426328" y="746494"/>
                  <a:pt x="425378" y="747426"/>
                  <a:pt x="424427" y="748359"/>
                </a:cubicBezTo>
                <a:cubicBezTo>
                  <a:pt x="362362" y="815378"/>
                  <a:pt x="309627" y="891703"/>
                  <a:pt x="268669" y="975542"/>
                </a:cubicBezTo>
                <a:lnTo>
                  <a:pt x="256661" y="1003585"/>
                </a:lnTo>
                <a:lnTo>
                  <a:pt x="231727" y="1061819"/>
                </a:lnTo>
                <a:cubicBezTo>
                  <a:pt x="209836" y="1120919"/>
                  <a:pt x="193543" y="1183091"/>
                  <a:pt x="183571" y="1247806"/>
                </a:cubicBezTo>
                <a:cubicBezTo>
                  <a:pt x="173599" y="1312521"/>
                  <a:pt x="170421" y="1376714"/>
                  <a:pt x="173505" y="1439662"/>
                </a:cubicBezTo>
                <a:lnTo>
                  <a:pt x="179753" y="1502699"/>
                </a:lnTo>
                <a:lnTo>
                  <a:pt x="161472" y="1478279"/>
                </a:lnTo>
                <a:cubicBezTo>
                  <a:pt x="109343" y="1400889"/>
                  <a:pt x="69612" y="1317057"/>
                  <a:pt x="42604" y="1229797"/>
                </a:cubicBezTo>
                <a:lnTo>
                  <a:pt x="41607" y="1225930"/>
                </a:lnTo>
                <a:lnTo>
                  <a:pt x="19850" y="1141508"/>
                </a:lnTo>
                <a:cubicBezTo>
                  <a:pt x="1363" y="1052301"/>
                  <a:pt x="-4290" y="960672"/>
                  <a:pt x="3222" y="869639"/>
                </a:cubicBezTo>
                <a:lnTo>
                  <a:pt x="11481" y="806737"/>
                </a:lnTo>
                <a:lnTo>
                  <a:pt x="15134" y="778916"/>
                </a:lnTo>
                <a:cubicBezTo>
                  <a:pt x="42342" y="628413"/>
                  <a:pt x="106425" y="482356"/>
                  <a:pt x="208908" y="354710"/>
                </a:cubicBezTo>
                <a:lnTo>
                  <a:pt x="255152" y="302716"/>
                </a:lnTo>
                <a:cubicBezTo>
                  <a:pt x="261248" y="295863"/>
                  <a:pt x="267342" y="289009"/>
                  <a:pt x="273439" y="282156"/>
                </a:cubicBezTo>
                <a:cubicBezTo>
                  <a:pt x="430846" y="122304"/>
                  <a:pt x="634275" y="28739"/>
                  <a:pt x="845411" y="5652"/>
                </a:cubicBezTo>
                <a:lnTo>
                  <a:pt x="853013" y="5186"/>
                </a:lnTo>
                <a:lnTo>
                  <a:pt x="936257" y="86"/>
                </a:lnTo>
                <a:cubicBezTo>
                  <a:pt x="1148813" y="-2779"/>
                  <a:pt x="1363601" y="65431"/>
                  <a:pt x="1542306" y="208908"/>
                </a:cubicBezTo>
                <a:close/>
              </a:path>
            </a:pathLst>
          </a:custGeom>
          <a:solidFill>
            <a:schemeClr val="accent1"/>
          </a:solidFill>
          <a:ln>
            <a:solidFill>
              <a:schemeClr val="bg1"/>
            </a:solidFill>
          </a:ln>
        </p:spPr>
        <p:txBody>
          <a:bodyPr wrap="square" lIns="0" tIns="36000" rIns="0" bIns="0" rtlCol="0" anchor="t" anchorCtr="0">
            <a:noAutofit/>
          </a:bodyPr>
          <a:lstStyle/>
          <a:p>
            <a:pPr algn="ctr">
              <a:lnSpc>
                <a:spcPct val="120000"/>
              </a:lnSpc>
            </a:pPr>
            <a:r>
              <a:rPr lang="zh-CN" altLang="en-US" sz="2000" dirty="0">
                <a:solidFill>
                  <a:schemeClr val="bg1"/>
                </a:solidFill>
                <a:latin typeface="微软雅黑" panose="020B0503020204020204" pitchFamily="34" charset="-122"/>
                <a:ea typeface="微软雅黑" panose="020B0503020204020204" pitchFamily="34" charset="-122"/>
              </a:rPr>
              <a:t>标题</a:t>
            </a:r>
          </a:p>
        </p:txBody>
      </p:sp>
      <p:sp>
        <p:nvSpPr>
          <p:cNvPr id="33" name="任意多边形 32"/>
          <p:cNvSpPr/>
          <p:nvPr/>
        </p:nvSpPr>
        <p:spPr>
          <a:xfrm rot="4146070">
            <a:off x="2488287" y="2193166"/>
            <a:ext cx="1896983" cy="1328648"/>
          </a:xfrm>
          <a:custGeom>
            <a:avLst/>
            <a:gdLst>
              <a:gd name="connsiteX0" fmla="*/ 71638 w 1896983"/>
              <a:gd name="connsiteY0" fmla="*/ 586430 h 1328648"/>
              <a:gd name="connsiteX1" fmla="*/ 350284 w 1896983"/>
              <a:gd name="connsiteY1" fmla="*/ 212458 h 1328648"/>
              <a:gd name="connsiteX2" fmla="*/ 406427 w 1896983"/>
              <a:gd name="connsiteY2" fmla="*/ 171352 h 1328648"/>
              <a:gd name="connsiteX3" fmla="*/ 428629 w 1896983"/>
              <a:gd name="connsiteY3" fmla="*/ 155096 h 1328648"/>
              <a:gd name="connsiteX4" fmla="*/ 1045956 w 1896983"/>
              <a:gd name="connsiteY4" fmla="*/ 5053 h 1328648"/>
              <a:gd name="connsiteX5" fmla="*/ 1053486 w 1896983"/>
              <a:gd name="connsiteY5" fmla="*/ 6196 h 1328648"/>
              <a:gd name="connsiteX6" fmla="*/ 1135942 w 1896983"/>
              <a:gd name="connsiteY6" fmla="*/ 18715 h 1328648"/>
              <a:gd name="connsiteX7" fmla="*/ 1684527 w 1896983"/>
              <a:gd name="connsiteY7" fmla="*/ 350311 h 1328648"/>
              <a:gd name="connsiteX8" fmla="*/ 1896957 w 1896983"/>
              <a:gd name="connsiteY8" fmla="*/ 955105 h 1328648"/>
              <a:gd name="connsiteX9" fmla="*/ 1892353 w 1896983"/>
              <a:gd name="connsiteY9" fmla="*/ 1038381 h 1328648"/>
              <a:gd name="connsiteX10" fmla="*/ 1889577 w 1896983"/>
              <a:gd name="connsiteY10" fmla="*/ 1031287 h 1328648"/>
              <a:gd name="connsiteX11" fmla="*/ 1450972 w 1896983"/>
              <a:gd name="connsiteY11" fmla="*/ 571687 h 1328648"/>
              <a:gd name="connsiteX12" fmla="*/ 1425795 w 1896983"/>
              <a:gd name="connsiteY12" fmla="*/ 560588 h 1328648"/>
              <a:gd name="connsiteX13" fmla="*/ 1362123 w 1896983"/>
              <a:gd name="connsiteY13" fmla="*/ 532519 h 1328648"/>
              <a:gd name="connsiteX14" fmla="*/ 898930 w 1896983"/>
              <a:gd name="connsiteY14" fmla="*/ 478191 h 1328648"/>
              <a:gd name="connsiteX15" fmla="*/ 871330 w 1896983"/>
              <a:gd name="connsiteY15" fmla="*/ 483248 h 1328648"/>
              <a:gd name="connsiteX16" fmla="*/ 808926 w 1896983"/>
              <a:gd name="connsiteY16" fmla="*/ 494679 h 1328648"/>
              <a:gd name="connsiteX17" fmla="*/ 555260 w 1896983"/>
              <a:gd name="connsiteY17" fmla="*/ 593890 h 1328648"/>
              <a:gd name="connsiteX18" fmla="*/ 481582 w 1896983"/>
              <a:gd name="connsiteY18" fmla="*/ 640490 h 1328648"/>
              <a:gd name="connsiteX19" fmla="*/ 478204 w 1896983"/>
              <a:gd name="connsiteY19" fmla="*/ 642626 h 1328648"/>
              <a:gd name="connsiteX20" fmla="*/ 278155 w 1896983"/>
              <a:gd name="connsiteY20" fmla="*/ 831976 h 1328648"/>
              <a:gd name="connsiteX21" fmla="*/ 260521 w 1896983"/>
              <a:gd name="connsiteY21" fmla="*/ 856865 h 1328648"/>
              <a:gd name="connsiteX22" fmla="*/ 223897 w 1896983"/>
              <a:gd name="connsiteY22" fmla="*/ 908556 h 1328648"/>
              <a:gd name="connsiteX23" fmla="*/ 137707 w 1896983"/>
              <a:gd name="connsiteY23" fmla="*/ 1080257 h 1328648"/>
              <a:gd name="connsiteX24" fmla="*/ 87522 w 1896983"/>
              <a:gd name="connsiteY24" fmla="*/ 1265706 h 1328648"/>
              <a:gd name="connsiteX25" fmla="*/ 80375 w 1896983"/>
              <a:gd name="connsiteY25" fmla="*/ 1328648 h 1328648"/>
              <a:gd name="connsiteX26" fmla="*/ 67637 w 1896983"/>
              <a:gd name="connsiteY26" fmla="*/ 1300930 h 1328648"/>
              <a:gd name="connsiteX27" fmla="*/ 3679 w 1896983"/>
              <a:gd name="connsiteY27" fmla="*/ 1033007 h 1328648"/>
              <a:gd name="connsiteX28" fmla="*/ 3518 w 1896983"/>
              <a:gd name="connsiteY28" fmla="*/ 1029016 h 1328648"/>
              <a:gd name="connsiteX29" fmla="*/ 0 w 1896983"/>
              <a:gd name="connsiteY29" fmla="*/ 941908 h 1328648"/>
              <a:gd name="connsiteX30" fmla="*/ 40914 w 1896983"/>
              <a:gd name="connsiteY30" fmla="*/ 672620 h 1328648"/>
              <a:gd name="connsiteX31" fmla="*/ 62216 w 1896983"/>
              <a:gd name="connsiteY31" fmla="*/ 612862 h 1328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96983" h="1328648">
                <a:moveTo>
                  <a:pt x="71638" y="586430"/>
                </a:moveTo>
                <a:cubicBezTo>
                  <a:pt x="129887" y="445015"/>
                  <a:pt x="223251" y="315699"/>
                  <a:pt x="350284" y="212458"/>
                </a:cubicBezTo>
                <a:lnTo>
                  <a:pt x="406427" y="171352"/>
                </a:lnTo>
                <a:lnTo>
                  <a:pt x="428629" y="155096"/>
                </a:lnTo>
                <a:cubicBezTo>
                  <a:pt x="616132" y="31918"/>
                  <a:pt x="834687" y="-16775"/>
                  <a:pt x="1045956" y="5053"/>
                </a:cubicBezTo>
                <a:lnTo>
                  <a:pt x="1053486" y="6196"/>
                </a:lnTo>
                <a:lnTo>
                  <a:pt x="1135942" y="18715"/>
                </a:lnTo>
                <a:cubicBezTo>
                  <a:pt x="1344347" y="60611"/>
                  <a:pt x="1539989" y="172464"/>
                  <a:pt x="1684527" y="350311"/>
                </a:cubicBezTo>
                <a:cubicBezTo>
                  <a:pt x="1829066" y="528159"/>
                  <a:pt x="1898556" y="742536"/>
                  <a:pt x="1896957" y="955105"/>
                </a:cubicBezTo>
                <a:lnTo>
                  <a:pt x="1892353" y="1038381"/>
                </a:lnTo>
                <a:lnTo>
                  <a:pt x="1889577" y="1031287"/>
                </a:lnTo>
                <a:cubicBezTo>
                  <a:pt x="1802846" y="837408"/>
                  <a:pt x="1651399" y="672480"/>
                  <a:pt x="1450972" y="571687"/>
                </a:cubicBezTo>
                <a:lnTo>
                  <a:pt x="1425795" y="560588"/>
                </a:lnTo>
                <a:lnTo>
                  <a:pt x="1362123" y="532519"/>
                </a:lnTo>
                <a:cubicBezTo>
                  <a:pt x="1209196" y="474126"/>
                  <a:pt x="1050525" y="457928"/>
                  <a:pt x="898930" y="478191"/>
                </a:cubicBezTo>
                <a:lnTo>
                  <a:pt x="871330" y="483248"/>
                </a:lnTo>
                <a:lnTo>
                  <a:pt x="808926" y="494679"/>
                </a:lnTo>
                <a:cubicBezTo>
                  <a:pt x="719976" y="515449"/>
                  <a:pt x="634497" y="548932"/>
                  <a:pt x="555260" y="593890"/>
                </a:cubicBezTo>
                <a:lnTo>
                  <a:pt x="481582" y="640490"/>
                </a:lnTo>
                <a:lnTo>
                  <a:pt x="478204" y="642626"/>
                </a:lnTo>
                <a:cubicBezTo>
                  <a:pt x="403434" y="695094"/>
                  <a:pt x="335828" y="758624"/>
                  <a:pt x="278155" y="831976"/>
                </a:cubicBezTo>
                <a:lnTo>
                  <a:pt x="260521" y="856865"/>
                </a:lnTo>
                <a:lnTo>
                  <a:pt x="223897" y="908556"/>
                </a:lnTo>
                <a:cubicBezTo>
                  <a:pt x="190068" y="961730"/>
                  <a:pt x="161065" y="1019086"/>
                  <a:pt x="137707" y="1080257"/>
                </a:cubicBezTo>
                <a:cubicBezTo>
                  <a:pt x="114350" y="1141427"/>
                  <a:pt x="97744" y="1203518"/>
                  <a:pt x="87522" y="1265706"/>
                </a:cubicBezTo>
                <a:lnTo>
                  <a:pt x="80375" y="1328648"/>
                </a:lnTo>
                <a:lnTo>
                  <a:pt x="67637" y="1300930"/>
                </a:lnTo>
                <a:cubicBezTo>
                  <a:pt x="32949" y="1214308"/>
                  <a:pt x="11733" y="1123995"/>
                  <a:pt x="3679" y="1033007"/>
                </a:cubicBezTo>
                <a:lnTo>
                  <a:pt x="3518" y="1029016"/>
                </a:lnTo>
                <a:lnTo>
                  <a:pt x="0" y="941908"/>
                </a:lnTo>
                <a:cubicBezTo>
                  <a:pt x="686" y="850807"/>
                  <a:pt x="14427" y="760038"/>
                  <a:pt x="40914" y="672620"/>
                </a:cubicBezTo>
                <a:lnTo>
                  <a:pt x="62216" y="612862"/>
                </a:lnTo>
                <a:close/>
              </a:path>
            </a:pathLst>
          </a:custGeom>
          <a:solidFill>
            <a:schemeClr val="accent1"/>
          </a:solidFill>
          <a:ln>
            <a:solidFill>
              <a:schemeClr val="bg1"/>
            </a:solidFill>
          </a:ln>
        </p:spPr>
        <p:txBody>
          <a:bodyPr wrap="square" lIns="0" tIns="36000" rIns="0" bIns="0" rtlCol="0" anchor="t" anchorCtr="0">
            <a:noAutofit/>
          </a:bodyPr>
          <a:lstStyle/>
          <a:p>
            <a:pPr algn="ctr">
              <a:lnSpc>
                <a:spcPct val="120000"/>
              </a:lnSpc>
            </a:pPr>
            <a:r>
              <a:rPr lang="zh-CN" altLang="en-US" sz="2000" dirty="0">
                <a:solidFill>
                  <a:schemeClr val="bg1"/>
                </a:solidFill>
                <a:latin typeface="微软雅黑" panose="020B0503020204020204" pitchFamily="34" charset="-122"/>
                <a:ea typeface="微软雅黑" panose="020B0503020204020204" pitchFamily="34" charset="-122"/>
              </a:rPr>
              <a:t>标题</a:t>
            </a:r>
          </a:p>
        </p:txBody>
      </p:sp>
      <p:sp>
        <p:nvSpPr>
          <p:cNvPr id="34" name="任意多边形 33"/>
          <p:cNvSpPr/>
          <p:nvPr/>
        </p:nvSpPr>
        <p:spPr>
          <a:xfrm rot="18279225">
            <a:off x="2072389" y="2747866"/>
            <a:ext cx="1897068" cy="1260240"/>
          </a:xfrm>
          <a:custGeom>
            <a:avLst/>
            <a:gdLst>
              <a:gd name="connsiteX0" fmla="*/ 1843529 w 1897068"/>
              <a:gd name="connsiteY0" fmla="*/ 0 h 1260240"/>
              <a:gd name="connsiteX1" fmla="*/ 1854079 w 1897068"/>
              <a:gd name="connsiteY1" fmla="*/ 28621 h 1260240"/>
              <a:gd name="connsiteX2" fmla="*/ 1897068 w 1897068"/>
              <a:gd name="connsiteY2" fmla="*/ 300696 h 1260240"/>
              <a:gd name="connsiteX3" fmla="*/ 1896919 w 1897068"/>
              <a:gd name="connsiteY3" fmla="*/ 304690 h 1260240"/>
              <a:gd name="connsiteX4" fmla="*/ 1893671 w 1897068"/>
              <a:gd name="connsiteY4" fmla="*/ 391807 h 1260240"/>
              <a:gd name="connsiteX5" fmla="*/ 1831999 w 1897068"/>
              <a:gd name="connsiteY5" fmla="*/ 657110 h 1260240"/>
              <a:gd name="connsiteX6" fmla="*/ 1806127 w 1897068"/>
              <a:gd name="connsiteY6" fmla="*/ 715037 h 1260240"/>
              <a:gd name="connsiteX7" fmla="*/ 1794685 w 1897068"/>
              <a:gd name="connsiteY7" fmla="*/ 740658 h 1260240"/>
              <a:gd name="connsiteX8" fmla="*/ 1487879 w 1897068"/>
              <a:gd name="connsiteY8" fmla="*/ 1091897 h 1260240"/>
              <a:gd name="connsiteX9" fmla="*/ 1428716 w 1897068"/>
              <a:gd name="connsiteY9" fmla="*/ 1128527 h 1260240"/>
              <a:gd name="connsiteX10" fmla="*/ 1405321 w 1897068"/>
              <a:gd name="connsiteY10" fmla="*/ 1143011 h 1260240"/>
              <a:gd name="connsiteX11" fmla="*/ 778218 w 1897068"/>
              <a:gd name="connsiteY11" fmla="*/ 1244732 h 1260240"/>
              <a:gd name="connsiteX12" fmla="*/ 770798 w 1897068"/>
              <a:gd name="connsiteY12" fmla="*/ 1243009 h 1260240"/>
              <a:gd name="connsiteX13" fmla="*/ 689563 w 1897068"/>
              <a:gd name="connsiteY13" fmla="*/ 1224134 h 1260240"/>
              <a:gd name="connsiteX14" fmla="*/ 168342 w 1897068"/>
              <a:gd name="connsiteY14" fmla="*/ 850996 h 1260240"/>
              <a:gd name="connsiteX15" fmla="*/ 3450 w 1897068"/>
              <a:gd name="connsiteY15" fmla="*/ 231551 h 1260240"/>
              <a:gd name="connsiteX16" fmla="*/ 14498 w 1897068"/>
              <a:gd name="connsiteY16" fmla="*/ 148885 h 1260240"/>
              <a:gd name="connsiteX17" fmla="*/ 16715 w 1897068"/>
              <a:gd name="connsiteY17" fmla="*/ 156172 h 1260240"/>
              <a:gd name="connsiteX18" fmla="*/ 418360 w 1897068"/>
              <a:gd name="connsiteY18" fmla="*/ 648399 h 1260240"/>
              <a:gd name="connsiteX19" fmla="*/ 442601 w 1897068"/>
              <a:gd name="connsiteY19" fmla="*/ 661418 h 1260240"/>
              <a:gd name="connsiteX20" fmla="*/ 503905 w 1897068"/>
              <a:gd name="connsiteY20" fmla="*/ 694339 h 1260240"/>
              <a:gd name="connsiteX21" fmla="*/ 961489 w 1897068"/>
              <a:gd name="connsiteY21" fmla="*/ 784421 h 1260240"/>
              <a:gd name="connsiteX22" fmla="*/ 989400 w 1897068"/>
              <a:gd name="connsiteY22" fmla="*/ 781521 h 1260240"/>
              <a:gd name="connsiteX23" fmla="*/ 1052501 w 1897068"/>
              <a:gd name="connsiteY23" fmla="*/ 774963 h 1260240"/>
              <a:gd name="connsiteX24" fmla="*/ 1313098 w 1897068"/>
              <a:gd name="connsiteY24" fmla="*/ 695721 h 1260240"/>
              <a:gd name="connsiteX25" fmla="*/ 1390169 w 1897068"/>
              <a:gd name="connsiteY25" fmla="*/ 654974 h 1260240"/>
              <a:gd name="connsiteX26" fmla="*/ 1393699 w 1897068"/>
              <a:gd name="connsiteY26" fmla="*/ 653107 h 1260240"/>
              <a:gd name="connsiteX27" fmla="*/ 1607829 w 1897068"/>
              <a:gd name="connsiteY27" fmla="*/ 479840 h 1260240"/>
              <a:gd name="connsiteX28" fmla="*/ 1627342 w 1897068"/>
              <a:gd name="connsiteY28" fmla="*/ 456392 h 1260240"/>
              <a:gd name="connsiteX29" fmla="*/ 1667863 w 1897068"/>
              <a:gd name="connsiteY29" fmla="*/ 407698 h 1260240"/>
              <a:gd name="connsiteX30" fmla="*/ 1767107 w 1897068"/>
              <a:gd name="connsiteY30" fmla="*/ 243197 h 1260240"/>
              <a:gd name="connsiteX31" fmla="*/ 1831521 w 1897068"/>
              <a:gd name="connsiteY31" fmla="*/ 62198 h 126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97068" h="1260240">
                <a:moveTo>
                  <a:pt x="1843529" y="0"/>
                </a:moveTo>
                <a:lnTo>
                  <a:pt x="1854079" y="28621"/>
                </a:lnTo>
                <a:cubicBezTo>
                  <a:pt x="1881946" y="117672"/>
                  <a:pt x="1896094" y="209359"/>
                  <a:pt x="1897068" y="300696"/>
                </a:cubicBezTo>
                <a:lnTo>
                  <a:pt x="1896919" y="304690"/>
                </a:lnTo>
                <a:lnTo>
                  <a:pt x="1893671" y="391807"/>
                </a:lnTo>
                <a:cubicBezTo>
                  <a:pt x="1885925" y="482580"/>
                  <a:pt x="1865186" y="572010"/>
                  <a:pt x="1831999" y="657110"/>
                </a:cubicBezTo>
                <a:lnTo>
                  <a:pt x="1806127" y="715037"/>
                </a:lnTo>
                <a:lnTo>
                  <a:pt x="1794685" y="740658"/>
                </a:lnTo>
                <a:cubicBezTo>
                  <a:pt x="1725646" y="877132"/>
                  <a:pt x="1622536" y="998817"/>
                  <a:pt x="1487879" y="1091897"/>
                </a:cubicBezTo>
                <a:lnTo>
                  <a:pt x="1428716" y="1128527"/>
                </a:lnTo>
                <a:lnTo>
                  <a:pt x="1405321" y="1143011"/>
                </a:lnTo>
                <a:cubicBezTo>
                  <a:pt x="1208832" y="1251278"/>
                  <a:pt x="987159" y="1282877"/>
                  <a:pt x="778218" y="1244732"/>
                </a:cubicBezTo>
                <a:lnTo>
                  <a:pt x="770798" y="1243009"/>
                </a:lnTo>
                <a:lnTo>
                  <a:pt x="689563" y="1224134"/>
                </a:lnTo>
                <a:cubicBezTo>
                  <a:pt x="485034" y="1166204"/>
                  <a:pt x="298655" y="1039517"/>
                  <a:pt x="168342" y="850996"/>
                </a:cubicBezTo>
                <a:cubicBezTo>
                  <a:pt x="38030" y="662476"/>
                  <a:pt x="-14627" y="443356"/>
                  <a:pt x="3450" y="231551"/>
                </a:cubicBezTo>
                <a:lnTo>
                  <a:pt x="14498" y="148885"/>
                </a:lnTo>
                <a:lnTo>
                  <a:pt x="16715" y="156172"/>
                </a:lnTo>
                <a:cubicBezTo>
                  <a:pt x="88151" y="356192"/>
                  <a:pt x="226354" y="532367"/>
                  <a:pt x="418360" y="648399"/>
                </a:cubicBezTo>
                <a:lnTo>
                  <a:pt x="442601" y="661418"/>
                </a:lnTo>
                <a:lnTo>
                  <a:pt x="503905" y="694339"/>
                </a:lnTo>
                <a:cubicBezTo>
                  <a:pt x="651843" y="764416"/>
                  <a:pt x="808781" y="792868"/>
                  <a:pt x="961489" y="784421"/>
                </a:cubicBezTo>
                <a:lnTo>
                  <a:pt x="989400" y="781521"/>
                </a:lnTo>
                <a:lnTo>
                  <a:pt x="1052501" y="774963"/>
                </a:lnTo>
                <a:cubicBezTo>
                  <a:pt x="1142795" y="761152"/>
                  <a:pt x="1230612" y="734399"/>
                  <a:pt x="1313098" y="695721"/>
                </a:cubicBezTo>
                <a:lnTo>
                  <a:pt x="1390169" y="654974"/>
                </a:lnTo>
                <a:lnTo>
                  <a:pt x="1393699" y="653107"/>
                </a:lnTo>
                <a:cubicBezTo>
                  <a:pt x="1472314" y="606594"/>
                  <a:pt x="1544642" y="548498"/>
                  <a:pt x="1607829" y="479840"/>
                </a:cubicBezTo>
                <a:lnTo>
                  <a:pt x="1627342" y="456392"/>
                </a:lnTo>
                <a:lnTo>
                  <a:pt x="1667863" y="407698"/>
                </a:lnTo>
                <a:cubicBezTo>
                  <a:pt x="1705713" y="357308"/>
                  <a:pt x="1739076" y="302373"/>
                  <a:pt x="1767107" y="243197"/>
                </a:cubicBezTo>
                <a:cubicBezTo>
                  <a:pt x="1795138" y="184022"/>
                  <a:pt x="1816508" y="123406"/>
                  <a:pt x="1831521" y="62198"/>
                </a:cubicBezTo>
                <a:close/>
              </a:path>
            </a:pathLst>
          </a:custGeom>
          <a:solidFill>
            <a:schemeClr val="accent1"/>
          </a:solidFill>
          <a:ln>
            <a:solidFill>
              <a:schemeClr val="bg1"/>
            </a:solidFill>
          </a:ln>
        </p:spPr>
        <p:txBody>
          <a:bodyPr wrap="square" lIns="0" tIns="720000" rIns="0" bIns="0" rtlCol="0" anchor="ctr" anchorCtr="0">
            <a:noAutofit/>
          </a:bodyPr>
          <a:lstStyle/>
          <a:p>
            <a:pPr algn="ctr">
              <a:lnSpc>
                <a:spcPct val="120000"/>
              </a:lnSpc>
            </a:pPr>
            <a:r>
              <a:rPr lang="zh-CN" altLang="en-US" sz="2000" dirty="0">
                <a:solidFill>
                  <a:schemeClr val="bg1"/>
                </a:solidFill>
                <a:latin typeface="微软雅黑" panose="020B0503020204020204" pitchFamily="34" charset="-122"/>
                <a:ea typeface="微软雅黑" panose="020B0503020204020204" pitchFamily="34" charset="-122"/>
              </a:rPr>
              <a:t>标题</a:t>
            </a:r>
          </a:p>
        </p:txBody>
      </p:sp>
      <p:sp>
        <p:nvSpPr>
          <p:cNvPr id="35" name="任意多边形 34"/>
          <p:cNvSpPr/>
          <p:nvPr/>
        </p:nvSpPr>
        <p:spPr>
          <a:xfrm rot="3838178">
            <a:off x="1107164" y="2000096"/>
            <a:ext cx="1897143" cy="1249545"/>
          </a:xfrm>
          <a:custGeom>
            <a:avLst/>
            <a:gdLst>
              <a:gd name="connsiteX0" fmla="*/ 16520 w 1897143"/>
              <a:gd name="connsiteY0" fmla="*/ 127039 h 1249545"/>
              <a:gd name="connsiteX1" fmla="*/ 18649 w 1897143"/>
              <a:gd name="connsiteY1" fmla="*/ 134351 h 1249545"/>
              <a:gd name="connsiteX2" fmla="*/ 414388 w 1897143"/>
              <a:gd name="connsiteY2" fmla="*/ 631339 h 1249545"/>
              <a:gd name="connsiteX3" fmla="*/ 438473 w 1897143"/>
              <a:gd name="connsiteY3" fmla="*/ 644646 h 1249545"/>
              <a:gd name="connsiteX4" fmla="*/ 499378 w 1897143"/>
              <a:gd name="connsiteY4" fmla="*/ 678297 h 1249545"/>
              <a:gd name="connsiteX5" fmla="*/ 955855 w 1897143"/>
              <a:gd name="connsiteY5" fmla="*/ 773836 h 1249545"/>
              <a:gd name="connsiteX6" fmla="*/ 983798 w 1897143"/>
              <a:gd name="connsiteY6" fmla="*/ 771269 h 1249545"/>
              <a:gd name="connsiteX7" fmla="*/ 1046973 w 1897143"/>
              <a:gd name="connsiteY7" fmla="*/ 765465 h 1249545"/>
              <a:gd name="connsiteX8" fmla="*/ 1308497 w 1897143"/>
              <a:gd name="connsiteY8" fmla="*/ 689339 h 1249545"/>
              <a:gd name="connsiteX9" fmla="*/ 1386049 w 1897143"/>
              <a:gd name="connsiteY9" fmla="*/ 649516 h 1249545"/>
              <a:gd name="connsiteX10" fmla="*/ 1389602 w 1897143"/>
              <a:gd name="connsiteY10" fmla="*/ 647691 h 1249545"/>
              <a:gd name="connsiteX11" fmla="*/ 1605785 w 1897143"/>
              <a:gd name="connsiteY11" fmla="*/ 476993 h 1249545"/>
              <a:gd name="connsiteX12" fmla="*/ 1625577 w 1897143"/>
              <a:gd name="connsiteY12" fmla="*/ 453779 h 1249545"/>
              <a:gd name="connsiteX13" fmla="*/ 1666676 w 1897143"/>
              <a:gd name="connsiteY13" fmla="*/ 405573 h 1249545"/>
              <a:gd name="connsiteX14" fmla="*/ 1767877 w 1897143"/>
              <a:gd name="connsiteY14" fmla="*/ 242269 h 1249545"/>
              <a:gd name="connsiteX15" fmla="*/ 1834448 w 1897143"/>
              <a:gd name="connsiteY15" fmla="*/ 62052 h 1249545"/>
              <a:gd name="connsiteX16" fmla="*/ 1847197 w 1897143"/>
              <a:gd name="connsiteY16" fmla="*/ 0 h 1249545"/>
              <a:gd name="connsiteX17" fmla="*/ 1857405 w 1897143"/>
              <a:gd name="connsiteY17" fmla="*/ 28747 h 1249545"/>
              <a:gd name="connsiteX18" fmla="*/ 1897143 w 1897143"/>
              <a:gd name="connsiteY18" fmla="*/ 301315 h 1249545"/>
              <a:gd name="connsiteX19" fmla="*/ 1896946 w 1897143"/>
              <a:gd name="connsiteY19" fmla="*/ 305306 h 1249545"/>
              <a:gd name="connsiteX20" fmla="*/ 1892659 w 1897143"/>
              <a:gd name="connsiteY20" fmla="*/ 392380 h 1249545"/>
              <a:gd name="connsiteX21" fmla="*/ 1827823 w 1897143"/>
              <a:gd name="connsiteY21" fmla="*/ 656928 h 1249545"/>
              <a:gd name="connsiteX22" fmla="*/ 1801262 w 1897143"/>
              <a:gd name="connsiteY22" fmla="*/ 714542 h 1249545"/>
              <a:gd name="connsiteX23" fmla="*/ 1789514 w 1897143"/>
              <a:gd name="connsiteY23" fmla="*/ 740025 h 1249545"/>
              <a:gd name="connsiteX24" fmla="*/ 1478536 w 1897143"/>
              <a:gd name="connsiteY24" fmla="*/ 1087576 h 1249545"/>
              <a:gd name="connsiteX25" fmla="*/ 1418940 w 1897143"/>
              <a:gd name="connsiteY25" fmla="*/ 1123496 h 1249545"/>
              <a:gd name="connsiteX26" fmla="*/ 1395374 w 1897143"/>
              <a:gd name="connsiteY26" fmla="*/ 1137700 h 1249545"/>
              <a:gd name="connsiteX27" fmla="*/ 767101 w 1897143"/>
              <a:gd name="connsiteY27" fmla="*/ 1231926 h 1249545"/>
              <a:gd name="connsiteX28" fmla="*/ 759702 w 1897143"/>
              <a:gd name="connsiteY28" fmla="*/ 1230114 h 1249545"/>
              <a:gd name="connsiteX29" fmla="*/ 678697 w 1897143"/>
              <a:gd name="connsiteY29" fmla="*/ 1210272 h 1249545"/>
              <a:gd name="connsiteX30" fmla="*/ 161969 w 1897143"/>
              <a:gd name="connsiteY30" fmla="*/ 830937 h 1249545"/>
              <a:gd name="connsiteX31" fmla="*/ 4485 w 1897143"/>
              <a:gd name="connsiteY31" fmla="*/ 209567 h 124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97143" h="1249545">
                <a:moveTo>
                  <a:pt x="16520" y="127039"/>
                </a:moveTo>
                <a:lnTo>
                  <a:pt x="18649" y="134351"/>
                </a:lnTo>
                <a:cubicBezTo>
                  <a:pt x="87692" y="335210"/>
                  <a:pt x="223781" y="513023"/>
                  <a:pt x="414388" y="631339"/>
                </a:cubicBezTo>
                <a:lnTo>
                  <a:pt x="438473" y="644646"/>
                </a:lnTo>
                <a:lnTo>
                  <a:pt x="499378" y="678297"/>
                </a:lnTo>
                <a:cubicBezTo>
                  <a:pt x="646469" y="750134"/>
                  <a:pt x="803056" y="780459"/>
                  <a:pt x="955855" y="773836"/>
                </a:cubicBezTo>
                <a:lnTo>
                  <a:pt x="983798" y="771269"/>
                </a:lnTo>
                <a:lnTo>
                  <a:pt x="1046973" y="765465"/>
                </a:lnTo>
                <a:cubicBezTo>
                  <a:pt x="1137424" y="752734"/>
                  <a:pt x="1225556" y="727029"/>
                  <a:pt x="1308497" y="689339"/>
                </a:cubicBezTo>
                <a:lnTo>
                  <a:pt x="1386049" y="649516"/>
                </a:lnTo>
                <a:lnTo>
                  <a:pt x="1389602" y="647691"/>
                </a:lnTo>
                <a:cubicBezTo>
                  <a:pt x="1468766" y="602120"/>
                  <a:pt x="1541783" y="544892"/>
                  <a:pt x="1605785" y="476993"/>
                </a:cubicBezTo>
                <a:lnTo>
                  <a:pt x="1625577" y="453779"/>
                </a:lnTo>
                <a:lnTo>
                  <a:pt x="1666676" y="405573"/>
                </a:lnTo>
                <a:cubicBezTo>
                  <a:pt x="1705125" y="355638"/>
                  <a:pt x="1739142" y="301105"/>
                  <a:pt x="1767877" y="242269"/>
                </a:cubicBezTo>
                <a:cubicBezTo>
                  <a:pt x="1796612" y="183432"/>
                  <a:pt x="1818705" y="123077"/>
                  <a:pt x="1834448" y="62052"/>
                </a:cubicBezTo>
                <a:lnTo>
                  <a:pt x="1847197" y="0"/>
                </a:lnTo>
                <a:lnTo>
                  <a:pt x="1857405" y="28747"/>
                </a:lnTo>
                <a:cubicBezTo>
                  <a:pt x="1884207" y="118124"/>
                  <a:pt x="1897259" y="209973"/>
                  <a:pt x="1897143" y="301315"/>
                </a:cubicBezTo>
                <a:lnTo>
                  <a:pt x="1896946" y="305306"/>
                </a:lnTo>
                <a:lnTo>
                  <a:pt x="1892659" y="392380"/>
                </a:lnTo>
                <a:cubicBezTo>
                  <a:pt x="1883829" y="483054"/>
                  <a:pt x="1862023" y="572229"/>
                  <a:pt x="1827823" y="656928"/>
                </a:cubicBezTo>
                <a:lnTo>
                  <a:pt x="1801262" y="714542"/>
                </a:lnTo>
                <a:lnTo>
                  <a:pt x="1789514" y="740025"/>
                </a:lnTo>
                <a:cubicBezTo>
                  <a:pt x="1718850" y="875663"/>
                  <a:pt x="1614296" y="996109"/>
                  <a:pt x="1478536" y="1087576"/>
                </a:cubicBezTo>
                <a:lnTo>
                  <a:pt x="1418940" y="1123496"/>
                </a:lnTo>
                <a:lnTo>
                  <a:pt x="1395374" y="1137700"/>
                </a:lnTo>
                <a:cubicBezTo>
                  <a:pt x="1197606" y="1243613"/>
                  <a:pt x="975572" y="1272564"/>
                  <a:pt x="767101" y="1231926"/>
                </a:cubicBezTo>
                <a:lnTo>
                  <a:pt x="759702" y="1230114"/>
                </a:lnTo>
                <a:lnTo>
                  <a:pt x="678697" y="1210272"/>
                </a:lnTo>
                <a:cubicBezTo>
                  <a:pt x="474875" y="1149903"/>
                  <a:pt x="290022" y="1021000"/>
                  <a:pt x="161969" y="830937"/>
                </a:cubicBezTo>
                <a:cubicBezTo>
                  <a:pt x="33917" y="640874"/>
                  <a:pt x="-16120" y="421140"/>
                  <a:pt x="4485" y="209567"/>
                </a:cubicBezTo>
                <a:close/>
              </a:path>
            </a:pathLst>
          </a:custGeom>
          <a:solidFill>
            <a:schemeClr val="accent1"/>
          </a:solidFill>
          <a:ln>
            <a:solidFill>
              <a:schemeClr val="bg1"/>
            </a:solidFill>
          </a:ln>
        </p:spPr>
        <p:txBody>
          <a:bodyPr wrap="square" lIns="0" tIns="648000" rIns="0" bIns="0" rtlCol="0" anchor="ctr" anchorCtr="0">
            <a:noAutofit/>
          </a:bodyPr>
          <a:lstStyle/>
          <a:p>
            <a:pPr algn="ctr">
              <a:lnSpc>
                <a:spcPct val="120000"/>
              </a:lnSpc>
            </a:pPr>
            <a:r>
              <a:rPr lang="zh-CN" altLang="en-US" sz="2000" dirty="0">
                <a:solidFill>
                  <a:schemeClr val="bg1"/>
                </a:solidFill>
                <a:latin typeface="微软雅黑" panose="020B0503020204020204" pitchFamily="34" charset="-122"/>
                <a:ea typeface="微软雅黑" panose="020B0503020204020204" pitchFamily="34" charset="-122"/>
              </a:rPr>
              <a:t>标题</a:t>
            </a:r>
          </a:p>
        </p:txBody>
      </p:sp>
      <p:sp>
        <p:nvSpPr>
          <p:cNvPr id="36" name="矩形 35"/>
          <p:cNvSpPr/>
          <p:nvPr/>
        </p:nvSpPr>
        <p:spPr>
          <a:xfrm>
            <a:off x="5182929" y="1243395"/>
            <a:ext cx="2658949" cy="2665197"/>
          </a:xfrm>
          <a:prstGeom prst="rect">
            <a:avLst/>
          </a:prstGeom>
        </p:spPr>
        <p:txBody>
          <a:bodyPr wrap="square" lIns="90000" tIns="90000" rIns="90000" bIns="90000" anchor="t" anchorCtr="0">
            <a:noAutofit/>
          </a:bodyPr>
          <a:lstStyle/>
          <a:p>
            <a:pPr algn="just">
              <a:lnSpc>
                <a:spcPct val="150000"/>
              </a:lnSpc>
              <a:spcBef>
                <a:spcPts val="600"/>
              </a:spcBef>
              <a:spcAft>
                <a:spcPts val="600"/>
              </a:spcAft>
            </a:pPr>
            <a:r>
              <a:rPr lang="zh-CN" altLang="en-US" sz="16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这里根据您的需要输入介绍文本，这里根据您的需要输入介绍文本。</a:t>
            </a:r>
            <a:endParaRPr lang="en-US" altLang="zh-CN" sz="16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pPr algn="just">
              <a:lnSpc>
                <a:spcPct val="150000"/>
              </a:lnSpc>
              <a:spcBef>
                <a:spcPts val="600"/>
              </a:spcBef>
              <a:spcAft>
                <a:spcPts val="600"/>
              </a:spcAft>
            </a:pPr>
            <a:r>
              <a:rPr lang="zh-CN" altLang="en-US" sz="16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这里根据您的需要输入介绍文本，这里根据您的需要输入介绍文本。</a:t>
            </a:r>
          </a:p>
        </p:txBody>
      </p:sp>
      <p:sp>
        <p:nvSpPr>
          <p:cNvPr id="37" name="Freeform 5"/>
          <p:cNvSpPr>
            <a:spLocks noEditPoints="1"/>
          </p:cNvSpPr>
          <p:nvPr/>
        </p:nvSpPr>
        <p:spPr bwMode="auto">
          <a:xfrm>
            <a:off x="5013476" y="1188534"/>
            <a:ext cx="186505" cy="141486"/>
          </a:xfrm>
          <a:custGeom>
            <a:avLst/>
            <a:gdLst>
              <a:gd name="T0" fmla="*/ 4662 w 4811"/>
              <a:gd name="T1" fmla="*/ 0 h 3654"/>
              <a:gd name="T2" fmla="*/ 4662 w 4811"/>
              <a:gd name="T3" fmla="*/ 749 h 3654"/>
              <a:gd name="T4" fmla="*/ 4265 w 4811"/>
              <a:gd name="T5" fmla="*/ 1030 h 3654"/>
              <a:gd name="T6" fmla="*/ 4017 w 4811"/>
              <a:gd name="T7" fmla="*/ 1452 h 3654"/>
              <a:gd name="T8" fmla="*/ 4017 w 4811"/>
              <a:gd name="T9" fmla="*/ 1780 h 3654"/>
              <a:gd name="T10" fmla="*/ 4811 w 4811"/>
              <a:gd name="T11" fmla="*/ 1780 h 3654"/>
              <a:gd name="T12" fmla="*/ 4811 w 4811"/>
              <a:gd name="T13" fmla="*/ 3654 h 3654"/>
              <a:gd name="T14" fmla="*/ 2926 w 4811"/>
              <a:gd name="T15" fmla="*/ 3654 h 3654"/>
              <a:gd name="T16" fmla="*/ 2926 w 4811"/>
              <a:gd name="T17" fmla="*/ 1920 h 3654"/>
              <a:gd name="T18" fmla="*/ 4662 w 4811"/>
              <a:gd name="T19" fmla="*/ 0 h 3654"/>
              <a:gd name="T20" fmla="*/ 1736 w 4811"/>
              <a:gd name="T21" fmla="*/ 0 h 3654"/>
              <a:gd name="T22" fmla="*/ 1736 w 4811"/>
              <a:gd name="T23" fmla="*/ 749 h 3654"/>
              <a:gd name="T24" fmla="*/ 1091 w 4811"/>
              <a:gd name="T25" fmla="*/ 1452 h 3654"/>
              <a:gd name="T26" fmla="*/ 1091 w 4811"/>
              <a:gd name="T27" fmla="*/ 1780 h 3654"/>
              <a:gd name="T28" fmla="*/ 1885 w 4811"/>
              <a:gd name="T29" fmla="*/ 1780 h 3654"/>
              <a:gd name="T30" fmla="*/ 1885 w 4811"/>
              <a:gd name="T31" fmla="*/ 3654 h 3654"/>
              <a:gd name="T32" fmla="*/ 0 w 4811"/>
              <a:gd name="T33" fmla="*/ 3654 h 3654"/>
              <a:gd name="T34" fmla="*/ 0 w 4811"/>
              <a:gd name="T35" fmla="*/ 1920 h 3654"/>
              <a:gd name="T36" fmla="*/ 1736 w 4811"/>
              <a:gd name="T37" fmla="*/ 0 h 3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11" h="3654">
                <a:moveTo>
                  <a:pt x="4662" y="0"/>
                </a:moveTo>
                <a:cubicBezTo>
                  <a:pt x="4662" y="250"/>
                  <a:pt x="4662" y="499"/>
                  <a:pt x="4662" y="749"/>
                </a:cubicBezTo>
                <a:cubicBezTo>
                  <a:pt x="4497" y="843"/>
                  <a:pt x="4365" y="937"/>
                  <a:pt x="4265" y="1030"/>
                </a:cubicBezTo>
                <a:cubicBezTo>
                  <a:pt x="4067" y="1249"/>
                  <a:pt x="3984" y="1389"/>
                  <a:pt x="4017" y="1452"/>
                </a:cubicBezTo>
                <a:cubicBezTo>
                  <a:pt x="4017" y="1561"/>
                  <a:pt x="4017" y="1670"/>
                  <a:pt x="4017" y="1780"/>
                </a:cubicBezTo>
                <a:cubicBezTo>
                  <a:pt x="4282" y="1780"/>
                  <a:pt x="4546" y="1780"/>
                  <a:pt x="4811" y="1780"/>
                </a:cubicBezTo>
                <a:cubicBezTo>
                  <a:pt x="4811" y="2404"/>
                  <a:pt x="4811" y="3029"/>
                  <a:pt x="4811" y="3654"/>
                </a:cubicBezTo>
                <a:cubicBezTo>
                  <a:pt x="4183" y="3654"/>
                  <a:pt x="3555" y="3654"/>
                  <a:pt x="2926" y="3654"/>
                </a:cubicBezTo>
                <a:cubicBezTo>
                  <a:pt x="2926" y="3076"/>
                  <a:pt x="2926" y="2498"/>
                  <a:pt x="2926" y="1920"/>
                </a:cubicBezTo>
                <a:cubicBezTo>
                  <a:pt x="3026" y="890"/>
                  <a:pt x="3604" y="250"/>
                  <a:pt x="4662" y="0"/>
                </a:cubicBezTo>
                <a:close/>
                <a:moveTo>
                  <a:pt x="1736" y="0"/>
                </a:moveTo>
                <a:cubicBezTo>
                  <a:pt x="1736" y="250"/>
                  <a:pt x="1736" y="499"/>
                  <a:pt x="1736" y="749"/>
                </a:cubicBezTo>
                <a:cubicBezTo>
                  <a:pt x="1339" y="937"/>
                  <a:pt x="1125" y="1171"/>
                  <a:pt x="1091" y="1452"/>
                </a:cubicBezTo>
                <a:cubicBezTo>
                  <a:pt x="1091" y="1561"/>
                  <a:pt x="1091" y="1670"/>
                  <a:pt x="1091" y="1780"/>
                </a:cubicBezTo>
                <a:cubicBezTo>
                  <a:pt x="1356" y="1780"/>
                  <a:pt x="1620" y="1780"/>
                  <a:pt x="1885" y="1780"/>
                </a:cubicBezTo>
                <a:cubicBezTo>
                  <a:pt x="1885" y="2404"/>
                  <a:pt x="1885" y="3029"/>
                  <a:pt x="1885" y="3654"/>
                </a:cubicBezTo>
                <a:cubicBezTo>
                  <a:pt x="1257" y="3654"/>
                  <a:pt x="629" y="3654"/>
                  <a:pt x="0" y="3654"/>
                </a:cubicBezTo>
                <a:cubicBezTo>
                  <a:pt x="0" y="3076"/>
                  <a:pt x="0" y="2498"/>
                  <a:pt x="0" y="1920"/>
                </a:cubicBezTo>
                <a:cubicBezTo>
                  <a:pt x="166" y="827"/>
                  <a:pt x="744" y="187"/>
                  <a:pt x="1736" y="0"/>
                </a:cubicBezTo>
                <a:close/>
              </a:path>
            </a:pathLst>
          </a:custGeom>
          <a:solidFill>
            <a:schemeClr val="accent1"/>
          </a:solidFill>
          <a:ln w="0">
            <a:noFill/>
            <a:prstDash val="solid"/>
            <a:round/>
          </a:ln>
        </p:spPr>
        <p:txBody>
          <a:bodyPr vert="horz" wrap="square" lIns="91440" tIns="45720" rIns="91440" bIns="45720" numCol="1" anchor="t" anchorCtr="0" compatLnSpc="1"/>
          <a:lstStyle/>
          <a:p>
            <a:endParaRPr lang="zh-CN" altLang="en-US"/>
          </a:p>
        </p:txBody>
      </p:sp>
      <p:sp>
        <p:nvSpPr>
          <p:cNvPr id="38" name="Freeform 5"/>
          <p:cNvSpPr>
            <a:spLocks noEditPoints="1"/>
          </p:cNvSpPr>
          <p:nvPr/>
        </p:nvSpPr>
        <p:spPr bwMode="auto">
          <a:xfrm rot="10800000">
            <a:off x="7841879" y="3848400"/>
            <a:ext cx="186505" cy="141486"/>
          </a:xfrm>
          <a:custGeom>
            <a:avLst/>
            <a:gdLst>
              <a:gd name="T0" fmla="*/ 4662 w 4811"/>
              <a:gd name="T1" fmla="*/ 0 h 3654"/>
              <a:gd name="T2" fmla="*/ 4662 w 4811"/>
              <a:gd name="T3" fmla="*/ 749 h 3654"/>
              <a:gd name="T4" fmla="*/ 4265 w 4811"/>
              <a:gd name="T5" fmla="*/ 1030 h 3654"/>
              <a:gd name="T6" fmla="*/ 4017 w 4811"/>
              <a:gd name="T7" fmla="*/ 1452 h 3654"/>
              <a:gd name="T8" fmla="*/ 4017 w 4811"/>
              <a:gd name="T9" fmla="*/ 1780 h 3654"/>
              <a:gd name="T10" fmla="*/ 4811 w 4811"/>
              <a:gd name="T11" fmla="*/ 1780 h 3654"/>
              <a:gd name="T12" fmla="*/ 4811 w 4811"/>
              <a:gd name="T13" fmla="*/ 3654 h 3654"/>
              <a:gd name="T14" fmla="*/ 2926 w 4811"/>
              <a:gd name="T15" fmla="*/ 3654 h 3654"/>
              <a:gd name="T16" fmla="*/ 2926 w 4811"/>
              <a:gd name="T17" fmla="*/ 1920 h 3654"/>
              <a:gd name="T18" fmla="*/ 4662 w 4811"/>
              <a:gd name="T19" fmla="*/ 0 h 3654"/>
              <a:gd name="T20" fmla="*/ 1736 w 4811"/>
              <a:gd name="T21" fmla="*/ 0 h 3654"/>
              <a:gd name="T22" fmla="*/ 1736 w 4811"/>
              <a:gd name="T23" fmla="*/ 749 h 3654"/>
              <a:gd name="T24" fmla="*/ 1091 w 4811"/>
              <a:gd name="T25" fmla="*/ 1452 h 3654"/>
              <a:gd name="T26" fmla="*/ 1091 w 4811"/>
              <a:gd name="T27" fmla="*/ 1780 h 3654"/>
              <a:gd name="T28" fmla="*/ 1885 w 4811"/>
              <a:gd name="T29" fmla="*/ 1780 h 3654"/>
              <a:gd name="T30" fmla="*/ 1885 w 4811"/>
              <a:gd name="T31" fmla="*/ 3654 h 3654"/>
              <a:gd name="T32" fmla="*/ 0 w 4811"/>
              <a:gd name="T33" fmla="*/ 3654 h 3654"/>
              <a:gd name="T34" fmla="*/ 0 w 4811"/>
              <a:gd name="T35" fmla="*/ 1920 h 3654"/>
              <a:gd name="T36" fmla="*/ 1736 w 4811"/>
              <a:gd name="T37" fmla="*/ 0 h 3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11" h="3654">
                <a:moveTo>
                  <a:pt x="4662" y="0"/>
                </a:moveTo>
                <a:cubicBezTo>
                  <a:pt x="4662" y="250"/>
                  <a:pt x="4662" y="499"/>
                  <a:pt x="4662" y="749"/>
                </a:cubicBezTo>
                <a:cubicBezTo>
                  <a:pt x="4497" y="843"/>
                  <a:pt x="4365" y="937"/>
                  <a:pt x="4265" y="1030"/>
                </a:cubicBezTo>
                <a:cubicBezTo>
                  <a:pt x="4067" y="1249"/>
                  <a:pt x="3984" y="1389"/>
                  <a:pt x="4017" y="1452"/>
                </a:cubicBezTo>
                <a:cubicBezTo>
                  <a:pt x="4017" y="1561"/>
                  <a:pt x="4017" y="1670"/>
                  <a:pt x="4017" y="1780"/>
                </a:cubicBezTo>
                <a:cubicBezTo>
                  <a:pt x="4282" y="1780"/>
                  <a:pt x="4546" y="1780"/>
                  <a:pt x="4811" y="1780"/>
                </a:cubicBezTo>
                <a:cubicBezTo>
                  <a:pt x="4811" y="2404"/>
                  <a:pt x="4811" y="3029"/>
                  <a:pt x="4811" y="3654"/>
                </a:cubicBezTo>
                <a:cubicBezTo>
                  <a:pt x="4183" y="3654"/>
                  <a:pt x="3555" y="3654"/>
                  <a:pt x="2926" y="3654"/>
                </a:cubicBezTo>
                <a:cubicBezTo>
                  <a:pt x="2926" y="3076"/>
                  <a:pt x="2926" y="2498"/>
                  <a:pt x="2926" y="1920"/>
                </a:cubicBezTo>
                <a:cubicBezTo>
                  <a:pt x="3026" y="890"/>
                  <a:pt x="3604" y="250"/>
                  <a:pt x="4662" y="0"/>
                </a:cubicBezTo>
                <a:close/>
                <a:moveTo>
                  <a:pt x="1736" y="0"/>
                </a:moveTo>
                <a:cubicBezTo>
                  <a:pt x="1736" y="250"/>
                  <a:pt x="1736" y="499"/>
                  <a:pt x="1736" y="749"/>
                </a:cubicBezTo>
                <a:cubicBezTo>
                  <a:pt x="1339" y="937"/>
                  <a:pt x="1125" y="1171"/>
                  <a:pt x="1091" y="1452"/>
                </a:cubicBezTo>
                <a:cubicBezTo>
                  <a:pt x="1091" y="1561"/>
                  <a:pt x="1091" y="1670"/>
                  <a:pt x="1091" y="1780"/>
                </a:cubicBezTo>
                <a:cubicBezTo>
                  <a:pt x="1356" y="1780"/>
                  <a:pt x="1620" y="1780"/>
                  <a:pt x="1885" y="1780"/>
                </a:cubicBezTo>
                <a:cubicBezTo>
                  <a:pt x="1885" y="2404"/>
                  <a:pt x="1885" y="3029"/>
                  <a:pt x="1885" y="3654"/>
                </a:cubicBezTo>
                <a:cubicBezTo>
                  <a:pt x="1257" y="3654"/>
                  <a:pt x="629" y="3654"/>
                  <a:pt x="0" y="3654"/>
                </a:cubicBezTo>
                <a:cubicBezTo>
                  <a:pt x="0" y="3076"/>
                  <a:pt x="0" y="2498"/>
                  <a:pt x="0" y="1920"/>
                </a:cubicBezTo>
                <a:cubicBezTo>
                  <a:pt x="166" y="827"/>
                  <a:pt x="744" y="187"/>
                  <a:pt x="1736" y="0"/>
                </a:cubicBezTo>
                <a:close/>
              </a:path>
            </a:pathLst>
          </a:custGeom>
          <a:solidFill>
            <a:schemeClr val="accent1"/>
          </a:solidFill>
          <a:ln w="0">
            <a:noFill/>
            <a:prstDash val="solid"/>
            <a:round/>
          </a:ln>
        </p:spPr>
        <p:txBody>
          <a:bodyPr vert="horz" wrap="square" lIns="91440" tIns="45720" rIns="91440" bIns="45720" numCol="1" anchor="t" anchorCtr="0" compatLnSpc="1"/>
          <a:lstStyle/>
          <a:p>
            <a:endParaRPr lang="zh-CN" altLang="en-US"/>
          </a:p>
        </p:txBody>
      </p:sp>
    </p:spTree>
  </p:cSld>
  <p:clrMapOvr>
    <a:masterClrMapping/>
  </p:clrMapOvr>
  <p:transition spd="slow" advTm="38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10" presetClass="entr" presetSubtype="0" fill="hold" grpId="0" nodeType="withEffect">
                                  <p:stCondLst>
                                    <p:cond delay="20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par>
                                <p:cTn id="11" presetID="10" presetClass="entr" presetSubtype="0" fill="hold" grpId="0" nodeType="withEffect">
                                  <p:stCondLst>
                                    <p:cond delay="30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700"/>
                                  </p:stCondLst>
                                  <p:childTnLst>
                                    <p:set>
                                      <p:cBhvr>
                                        <p:cTn id="18" dur="1" fill="hold">
                                          <p:stCondLst>
                                            <p:cond delay="0"/>
                                          </p:stCondLst>
                                        </p:cTn>
                                        <p:tgtEl>
                                          <p:spTgt spid="31"/>
                                        </p:tgtEl>
                                        <p:attrNameLst>
                                          <p:attrName>style.visibility</p:attrName>
                                        </p:attrNameLst>
                                      </p:cBhvr>
                                      <p:to>
                                        <p:strVal val="visible"/>
                                      </p:to>
                                    </p:set>
                                    <p:animEffect transition="in" filter="fade">
                                      <p:cBhvr>
                                        <p:cTn id="19" dur="500"/>
                                        <p:tgtEl>
                                          <p:spTgt spid="31"/>
                                        </p:tgtEl>
                                      </p:cBhvr>
                                    </p:animEffect>
                                  </p:childTnLst>
                                </p:cTn>
                              </p:par>
                              <p:par>
                                <p:cTn id="20" presetID="10" presetClass="entr" presetSubtype="0" fill="hold" grpId="0" nodeType="withEffect">
                                  <p:stCondLst>
                                    <p:cond delay="90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500"/>
                                        <p:tgtEl>
                                          <p:spTgt spid="35"/>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37"/>
                                        </p:tgtEl>
                                        <p:attrNameLst>
                                          <p:attrName>style.visibility</p:attrName>
                                        </p:attrNameLst>
                                      </p:cBhvr>
                                      <p:to>
                                        <p:strVal val="visible"/>
                                      </p:to>
                                    </p:set>
                                    <p:animEffect transition="in" filter="fade">
                                      <p:cBhvr>
                                        <p:cTn id="26" dur="500"/>
                                        <p:tgtEl>
                                          <p:spTgt spid="37"/>
                                        </p:tgtEl>
                                      </p:cBhvr>
                                    </p:animEffect>
                                  </p:childTnLst>
                                </p:cTn>
                              </p:par>
                            </p:childTnLst>
                          </p:cTn>
                        </p:par>
                        <p:par>
                          <p:cTn id="27" fill="hold">
                            <p:stCondLst>
                              <p:cond delay="1000"/>
                            </p:stCondLst>
                            <p:childTnLst>
                              <p:par>
                                <p:cTn id="28" presetID="22" presetClass="entr" presetSubtype="1" fill="hold" grpId="0" nodeType="afterEffect">
                                  <p:stCondLst>
                                    <p:cond delay="0"/>
                                  </p:stCondLst>
                                  <p:childTnLst>
                                    <p:set>
                                      <p:cBhvr>
                                        <p:cTn id="29" dur="1" fill="hold">
                                          <p:stCondLst>
                                            <p:cond delay="0"/>
                                          </p:stCondLst>
                                        </p:cTn>
                                        <p:tgtEl>
                                          <p:spTgt spid="36"/>
                                        </p:tgtEl>
                                        <p:attrNameLst>
                                          <p:attrName>style.visibility</p:attrName>
                                        </p:attrNameLst>
                                      </p:cBhvr>
                                      <p:to>
                                        <p:strVal val="visible"/>
                                      </p:to>
                                    </p:set>
                                    <p:animEffect transition="in" filter="wipe(up)">
                                      <p:cBhvr>
                                        <p:cTn id="30" dur="1000"/>
                                        <p:tgtEl>
                                          <p:spTgt spid="36"/>
                                        </p:tgtEl>
                                      </p:cBhvr>
                                    </p:animEffect>
                                  </p:childTnLst>
                                </p:cTn>
                              </p:par>
                            </p:childTnLst>
                          </p:cTn>
                        </p:par>
                        <p:par>
                          <p:cTn id="31" fill="hold">
                            <p:stCondLst>
                              <p:cond delay="2000"/>
                            </p:stCondLst>
                            <p:childTnLst>
                              <p:par>
                                <p:cTn id="32" presetID="10" presetClass="entr" presetSubtype="0" fill="hold" grpId="0"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P spid="33" grpId="0" animBg="1"/>
      <p:bldP spid="34" grpId="0" animBg="1"/>
      <p:bldP spid="35" grpId="0" animBg="1"/>
      <p:bldP spid="36" grpId="0"/>
      <p:bldP spid="37" grpId="0" animBg="1"/>
      <p:bldP spid="38"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prstGeom prst="rect">
            <a:avLst/>
          </a:prstGeom>
        </p:spPr>
        <p:txBody>
          <a:bodyPr/>
          <a:lstStyle/>
          <a:p>
            <a:r>
              <a:rPr lang="zh-CN" altLang="en-US" dirty="0"/>
              <a:t>单击添加标题</a:t>
            </a:r>
          </a:p>
        </p:txBody>
      </p:sp>
      <p:grpSp>
        <p:nvGrpSpPr>
          <p:cNvPr id="2" name="组合 1"/>
          <p:cNvGrpSpPr/>
          <p:nvPr/>
        </p:nvGrpSpPr>
        <p:grpSpPr>
          <a:xfrm>
            <a:off x="2193855" y="1059582"/>
            <a:ext cx="4763755" cy="3024750"/>
            <a:chOff x="2193855" y="1206312"/>
            <a:chExt cx="4763755" cy="3024750"/>
          </a:xfrm>
        </p:grpSpPr>
        <p:sp>
          <p:nvSpPr>
            <p:cNvPr id="4" name="矩形 1"/>
            <p:cNvSpPr/>
            <p:nvPr/>
          </p:nvSpPr>
          <p:spPr>
            <a:xfrm rot="990775">
              <a:off x="3122695" y="3298562"/>
              <a:ext cx="2500445" cy="287685"/>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bg1">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chemeClr val="bg1">
                    <a:lumMod val="50000"/>
                  </a:schemeClr>
                </a:solidFill>
                <a:effectLst/>
                <a:uLnTx/>
                <a:uFillTx/>
              </a:endParaRPr>
            </a:p>
          </p:txBody>
        </p:sp>
        <p:sp>
          <p:nvSpPr>
            <p:cNvPr id="5" name="矩形 1"/>
            <p:cNvSpPr/>
            <p:nvPr/>
          </p:nvSpPr>
          <p:spPr>
            <a:xfrm rot="293950">
              <a:off x="3281854" y="1630600"/>
              <a:ext cx="2848883" cy="294792"/>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bg1">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chemeClr val="bg1">
                    <a:lumMod val="50000"/>
                  </a:schemeClr>
                </a:solidFill>
                <a:effectLst/>
                <a:uLnTx/>
                <a:uFillTx/>
              </a:endParaRPr>
            </a:p>
          </p:txBody>
        </p:sp>
        <p:sp>
          <p:nvSpPr>
            <p:cNvPr id="6" name="椭圆 5"/>
            <p:cNvSpPr/>
            <p:nvPr/>
          </p:nvSpPr>
          <p:spPr>
            <a:xfrm>
              <a:off x="2633023" y="1206312"/>
              <a:ext cx="694953" cy="694953"/>
            </a:xfrm>
            <a:prstGeom prst="ellipse">
              <a:avLst/>
            </a:prstGeom>
            <a:solidFill>
              <a:schemeClr val="accent1"/>
            </a:solidFill>
            <a:ln w="57150" cap="flat" cmpd="sng" algn="ctr">
              <a:solidFill>
                <a:schemeClr val="bg1"/>
              </a:solid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200" b="1" i="0" u="none" strike="noStrike" kern="0" cap="none" spc="0" normalizeH="0" baseline="0" noProof="0" dirty="0">
                  <a:ln w="18415" cmpd="sng">
                    <a:noFill/>
                    <a:prstDash val="solid"/>
                  </a:ln>
                  <a:solidFill>
                    <a:schemeClr val="bg1"/>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01</a:t>
              </a:r>
            </a:p>
          </p:txBody>
        </p:sp>
        <p:sp>
          <p:nvSpPr>
            <p:cNvPr id="7" name="矩形 1"/>
            <p:cNvSpPr/>
            <p:nvPr/>
          </p:nvSpPr>
          <p:spPr>
            <a:xfrm rot="20453418">
              <a:off x="2677142" y="2373544"/>
              <a:ext cx="3418338" cy="376174"/>
            </a:xfrm>
            <a:custGeom>
              <a:avLst/>
              <a:gdLst>
                <a:gd name="connsiteX0" fmla="*/ 0 w 4180787"/>
                <a:gd name="connsiteY0" fmla="*/ 0 h 432613"/>
                <a:gd name="connsiteX1" fmla="*/ 4180787 w 4180787"/>
                <a:gd name="connsiteY1" fmla="*/ 0 h 432613"/>
                <a:gd name="connsiteX2" fmla="*/ 4180787 w 4180787"/>
                <a:gd name="connsiteY2" fmla="*/ 432613 h 432613"/>
                <a:gd name="connsiteX3" fmla="*/ 0 w 4180787"/>
                <a:gd name="connsiteY3" fmla="*/ 432613 h 432613"/>
                <a:gd name="connsiteX4" fmla="*/ 0 w 4180787"/>
                <a:gd name="connsiteY4" fmla="*/ 0 h 432613"/>
                <a:gd name="connsiteX0-1" fmla="*/ 0 w 4180787"/>
                <a:gd name="connsiteY0-2" fmla="*/ 0 h 446239"/>
                <a:gd name="connsiteX1-3" fmla="*/ 4180787 w 4180787"/>
                <a:gd name="connsiteY1-4" fmla="*/ 0 h 446239"/>
                <a:gd name="connsiteX2-5" fmla="*/ 4180787 w 4180787"/>
                <a:gd name="connsiteY2-6" fmla="*/ 432613 h 446239"/>
                <a:gd name="connsiteX3-7" fmla="*/ 1797892 w 4180787"/>
                <a:gd name="connsiteY3-8" fmla="*/ 446239 h 446239"/>
                <a:gd name="connsiteX4-9" fmla="*/ 0 w 4180787"/>
                <a:gd name="connsiteY4-10" fmla="*/ 432613 h 446239"/>
                <a:gd name="connsiteX5" fmla="*/ 0 w 4180787"/>
                <a:gd name="connsiteY5" fmla="*/ 0 h 446239"/>
                <a:gd name="connsiteX0-11" fmla="*/ 0 w 4180787"/>
                <a:gd name="connsiteY0-12" fmla="*/ 3102 h 449341"/>
                <a:gd name="connsiteX1-13" fmla="*/ 1774422 w 4180787"/>
                <a:gd name="connsiteY1-14" fmla="*/ 0 h 449341"/>
                <a:gd name="connsiteX2-15" fmla="*/ 4180787 w 4180787"/>
                <a:gd name="connsiteY2-16" fmla="*/ 3102 h 449341"/>
                <a:gd name="connsiteX3-17" fmla="*/ 4180787 w 4180787"/>
                <a:gd name="connsiteY3-18" fmla="*/ 435715 h 449341"/>
                <a:gd name="connsiteX4-19" fmla="*/ 1797892 w 4180787"/>
                <a:gd name="connsiteY4-20" fmla="*/ 449341 h 449341"/>
                <a:gd name="connsiteX5-21" fmla="*/ 0 w 4180787"/>
                <a:gd name="connsiteY5-22" fmla="*/ 435715 h 449341"/>
                <a:gd name="connsiteX6" fmla="*/ 0 w 4180787"/>
                <a:gd name="connsiteY6" fmla="*/ 3102 h 449341"/>
                <a:gd name="connsiteX0-23" fmla="*/ 0 w 4180787"/>
                <a:gd name="connsiteY0-24" fmla="*/ 0 h 446239"/>
                <a:gd name="connsiteX1-25" fmla="*/ 1791064 w 4180787"/>
                <a:gd name="connsiteY1-26" fmla="*/ 191058 h 446239"/>
                <a:gd name="connsiteX2-27" fmla="*/ 4180787 w 4180787"/>
                <a:gd name="connsiteY2-28" fmla="*/ 0 h 446239"/>
                <a:gd name="connsiteX3-29" fmla="*/ 4180787 w 4180787"/>
                <a:gd name="connsiteY3-30" fmla="*/ 432613 h 446239"/>
                <a:gd name="connsiteX4-31" fmla="*/ 1797892 w 4180787"/>
                <a:gd name="connsiteY4-32" fmla="*/ 446239 h 446239"/>
                <a:gd name="connsiteX5-33" fmla="*/ 0 w 4180787"/>
                <a:gd name="connsiteY5-34" fmla="*/ 432613 h 446239"/>
                <a:gd name="connsiteX6-35" fmla="*/ 0 w 4180787"/>
                <a:gd name="connsiteY6-36" fmla="*/ 0 h 446239"/>
                <a:gd name="connsiteX0-37" fmla="*/ 0 w 4180787"/>
                <a:gd name="connsiteY0-38" fmla="*/ 0 h 432613"/>
                <a:gd name="connsiteX1-39" fmla="*/ 1791064 w 4180787"/>
                <a:gd name="connsiteY1-40" fmla="*/ 191058 h 432613"/>
                <a:gd name="connsiteX2-41" fmla="*/ 4180787 w 4180787"/>
                <a:gd name="connsiteY2-42" fmla="*/ 0 h 432613"/>
                <a:gd name="connsiteX3-43" fmla="*/ 4180787 w 4180787"/>
                <a:gd name="connsiteY3-44" fmla="*/ 432613 h 432613"/>
                <a:gd name="connsiteX4-45" fmla="*/ 1740284 w 4180787"/>
                <a:gd name="connsiteY4-46" fmla="*/ 300725 h 432613"/>
                <a:gd name="connsiteX5-47" fmla="*/ 0 w 4180787"/>
                <a:gd name="connsiteY5-48" fmla="*/ 432613 h 432613"/>
                <a:gd name="connsiteX6-49" fmla="*/ 0 w 4180787"/>
                <a:gd name="connsiteY6-50" fmla="*/ 0 h 432613"/>
                <a:gd name="connsiteX0-51" fmla="*/ 0 w 4180787"/>
                <a:gd name="connsiteY0-52" fmla="*/ 0 h 432613"/>
                <a:gd name="connsiteX1-53" fmla="*/ 1835870 w 4180787"/>
                <a:gd name="connsiteY1-54" fmla="*/ 187218 h 432613"/>
                <a:gd name="connsiteX2-55" fmla="*/ 4180787 w 4180787"/>
                <a:gd name="connsiteY2-56" fmla="*/ 0 h 432613"/>
                <a:gd name="connsiteX3-57" fmla="*/ 4180787 w 4180787"/>
                <a:gd name="connsiteY3-58" fmla="*/ 432613 h 432613"/>
                <a:gd name="connsiteX4-59" fmla="*/ 1740284 w 4180787"/>
                <a:gd name="connsiteY4-60" fmla="*/ 300725 h 432613"/>
                <a:gd name="connsiteX5-61" fmla="*/ 0 w 4180787"/>
                <a:gd name="connsiteY5-62" fmla="*/ 432613 h 432613"/>
                <a:gd name="connsiteX6-63" fmla="*/ 0 w 4180787"/>
                <a:gd name="connsiteY6-64" fmla="*/ 0 h 432613"/>
                <a:gd name="connsiteX0-65" fmla="*/ 0 w 4180787"/>
                <a:gd name="connsiteY0-66" fmla="*/ 4908 h 437521"/>
                <a:gd name="connsiteX1-67" fmla="*/ 1835870 w 4180787"/>
                <a:gd name="connsiteY1-68" fmla="*/ 192126 h 437521"/>
                <a:gd name="connsiteX2-69" fmla="*/ 4180787 w 4180787"/>
                <a:gd name="connsiteY2-70" fmla="*/ 4908 h 437521"/>
                <a:gd name="connsiteX3-71" fmla="*/ 4180787 w 4180787"/>
                <a:gd name="connsiteY3-72" fmla="*/ 437521 h 437521"/>
                <a:gd name="connsiteX4-73" fmla="*/ 1740284 w 4180787"/>
                <a:gd name="connsiteY4-74" fmla="*/ 305633 h 437521"/>
                <a:gd name="connsiteX5-75" fmla="*/ 0 w 4180787"/>
                <a:gd name="connsiteY5-76" fmla="*/ 437521 h 437521"/>
                <a:gd name="connsiteX6-77" fmla="*/ 0 w 4180787"/>
                <a:gd name="connsiteY6-78" fmla="*/ 4908 h 437521"/>
                <a:gd name="connsiteX0-79" fmla="*/ 0 w 4180787"/>
                <a:gd name="connsiteY0-80" fmla="*/ 4908 h 446252"/>
                <a:gd name="connsiteX1-81" fmla="*/ 1835870 w 4180787"/>
                <a:gd name="connsiteY1-82" fmla="*/ 192126 h 446252"/>
                <a:gd name="connsiteX2-83" fmla="*/ 4180787 w 4180787"/>
                <a:gd name="connsiteY2-84" fmla="*/ 4908 h 446252"/>
                <a:gd name="connsiteX3-85" fmla="*/ 4180787 w 4180787"/>
                <a:gd name="connsiteY3-86" fmla="*/ 437521 h 446252"/>
                <a:gd name="connsiteX4-87" fmla="*/ 1740284 w 4180787"/>
                <a:gd name="connsiteY4-88" fmla="*/ 305633 h 446252"/>
                <a:gd name="connsiteX5-89" fmla="*/ 0 w 4180787"/>
                <a:gd name="connsiteY5-90" fmla="*/ 437521 h 446252"/>
                <a:gd name="connsiteX6-91" fmla="*/ 0 w 4180787"/>
                <a:gd name="connsiteY6-92" fmla="*/ 4908 h 446252"/>
                <a:gd name="connsiteX0-93" fmla="*/ 0 w 4180787"/>
                <a:gd name="connsiteY0-94" fmla="*/ 4107 h 445451"/>
                <a:gd name="connsiteX1-95" fmla="*/ 1779968 w 4180787"/>
                <a:gd name="connsiteY1-96" fmla="*/ 241252 h 445451"/>
                <a:gd name="connsiteX2-97" fmla="*/ 4180787 w 4180787"/>
                <a:gd name="connsiteY2-98" fmla="*/ 4107 h 445451"/>
                <a:gd name="connsiteX3-99" fmla="*/ 4180787 w 4180787"/>
                <a:gd name="connsiteY3-100" fmla="*/ 436720 h 445451"/>
                <a:gd name="connsiteX4-101" fmla="*/ 1740284 w 4180787"/>
                <a:gd name="connsiteY4-102" fmla="*/ 304832 h 445451"/>
                <a:gd name="connsiteX5-103" fmla="*/ 0 w 4180787"/>
                <a:gd name="connsiteY5-104" fmla="*/ 436720 h 445451"/>
                <a:gd name="connsiteX6-105" fmla="*/ 0 w 4180787"/>
                <a:gd name="connsiteY6-106" fmla="*/ 4107 h 445451"/>
                <a:gd name="connsiteX0-107" fmla="*/ 0 w 4180787"/>
                <a:gd name="connsiteY0-108" fmla="*/ 4107 h 445451"/>
                <a:gd name="connsiteX1-109" fmla="*/ 1779968 w 4180787"/>
                <a:gd name="connsiteY1-110" fmla="*/ 241252 h 445451"/>
                <a:gd name="connsiteX2-111" fmla="*/ 4180787 w 4180787"/>
                <a:gd name="connsiteY2-112" fmla="*/ 4107 h 445451"/>
                <a:gd name="connsiteX3-113" fmla="*/ 4180787 w 4180787"/>
                <a:gd name="connsiteY3-114" fmla="*/ 436720 h 445451"/>
                <a:gd name="connsiteX4-115" fmla="*/ 1740284 w 4180787"/>
                <a:gd name="connsiteY4-116" fmla="*/ 304832 h 445451"/>
                <a:gd name="connsiteX5-117" fmla="*/ 0 w 4180787"/>
                <a:gd name="connsiteY5-118" fmla="*/ 436720 h 445451"/>
                <a:gd name="connsiteX6-119" fmla="*/ 0 w 4180787"/>
                <a:gd name="connsiteY6-120" fmla="*/ 4107 h 445451"/>
                <a:gd name="connsiteX0-121" fmla="*/ 0 w 4180787"/>
                <a:gd name="connsiteY0-122" fmla="*/ 4107 h 436720"/>
                <a:gd name="connsiteX1-123" fmla="*/ 1779968 w 4180787"/>
                <a:gd name="connsiteY1-124" fmla="*/ 241252 h 436720"/>
                <a:gd name="connsiteX2-125" fmla="*/ 4180787 w 4180787"/>
                <a:gd name="connsiteY2-126" fmla="*/ 4107 h 436720"/>
                <a:gd name="connsiteX3-127" fmla="*/ 4180787 w 4180787"/>
                <a:gd name="connsiteY3-128" fmla="*/ 436720 h 436720"/>
                <a:gd name="connsiteX4-129" fmla="*/ 1740284 w 4180787"/>
                <a:gd name="connsiteY4-130" fmla="*/ 304832 h 436720"/>
                <a:gd name="connsiteX5-131" fmla="*/ 0 w 4180787"/>
                <a:gd name="connsiteY5-132" fmla="*/ 436720 h 436720"/>
                <a:gd name="connsiteX6-133" fmla="*/ 0 w 4180787"/>
                <a:gd name="connsiteY6-134" fmla="*/ 4107 h 436720"/>
                <a:gd name="connsiteX0-135" fmla="*/ 0 w 4180787"/>
                <a:gd name="connsiteY0-136" fmla="*/ 4107 h 436720"/>
                <a:gd name="connsiteX1-137" fmla="*/ 1779968 w 4180787"/>
                <a:gd name="connsiteY1-138" fmla="*/ 241252 h 436720"/>
                <a:gd name="connsiteX2-139" fmla="*/ 4180787 w 4180787"/>
                <a:gd name="connsiteY2-140" fmla="*/ 4107 h 436720"/>
                <a:gd name="connsiteX3-141" fmla="*/ 4180787 w 4180787"/>
                <a:gd name="connsiteY3-142" fmla="*/ 436720 h 436720"/>
                <a:gd name="connsiteX4-143" fmla="*/ 1740284 w 4180787"/>
                <a:gd name="connsiteY4-144" fmla="*/ 304832 h 436720"/>
                <a:gd name="connsiteX5-145" fmla="*/ 0 w 4180787"/>
                <a:gd name="connsiteY5-146" fmla="*/ 436720 h 436720"/>
                <a:gd name="connsiteX6-147" fmla="*/ 0 w 4180787"/>
                <a:gd name="connsiteY6-148" fmla="*/ 4107 h 436720"/>
                <a:gd name="connsiteX0-149" fmla="*/ 0 w 4180787"/>
                <a:gd name="connsiteY0-150" fmla="*/ 0 h 432613"/>
                <a:gd name="connsiteX1-151" fmla="*/ 1779968 w 4180787"/>
                <a:gd name="connsiteY1-152" fmla="*/ 237145 h 432613"/>
                <a:gd name="connsiteX2-153" fmla="*/ 4180787 w 4180787"/>
                <a:gd name="connsiteY2-154" fmla="*/ 0 h 432613"/>
                <a:gd name="connsiteX3-155" fmla="*/ 4180787 w 4180787"/>
                <a:gd name="connsiteY3-156" fmla="*/ 432613 h 432613"/>
                <a:gd name="connsiteX4-157" fmla="*/ 1740284 w 4180787"/>
                <a:gd name="connsiteY4-158" fmla="*/ 300725 h 432613"/>
                <a:gd name="connsiteX5-159" fmla="*/ 0 w 4180787"/>
                <a:gd name="connsiteY5-160" fmla="*/ 432613 h 432613"/>
                <a:gd name="connsiteX6-161" fmla="*/ 0 w 4180787"/>
                <a:gd name="connsiteY6-162" fmla="*/ 0 h 4326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 ang="0">
                  <a:pos x="connsiteX6-35" y="connsiteY6-36"/>
                </a:cxn>
              </a:cxnLst>
              <a:rect l="l" t="t" r="r" b="b"/>
              <a:pathLst>
                <a:path w="4180787" h="432613">
                  <a:moveTo>
                    <a:pt x="0" y="0"/>
                  </a:moveTo>
                  <a:cubicBezTo>
                    <a:pt x="455759" y="126804"/>
                    <a:pt x="1083170" y="237145"/>
                    <a:pt x="1779968" y="237145"/>
                  </a:cubicBezTo>
                  <a:cubicBezTo>
                    <a:pt x="2476766" y="237145"/>
                    <a:pt x="3713158" y="116136"/>
                    <a:pt x="4180787" y="0"/>
                  </a:cubicBezTo>
                  <a:lnTo>
                    <a:pt x="4180787" y="432613"/>
                  </a:lnTo>
                  <a:cubicBezTo>
                    <a:pt x="3758675" y="303509"/>
                    <a:pt x="2437082" y="300725"/>
                    <a:pt x="1740284" y="300725"/>
                  </a:cubicBezTo>
                  <a:cubicBezTo>
                    <a:pt x="1043486" y="300725"/>
                    <a:pt x="357043" y="386721"/>
                    <a:pt x="0" y="432613"/>
                  </a:cubicBezTo>
                  <a:lnTo>
                    <a:pt x="0" y="0"/>
                  </a:lnTo>
                  <a:close/>
                </a:path>
              </a:pathLst>
            </a:custGeom>
            <a:solidFill>
              <a:schemeClr val="bg1">
                <a:lumMod val="75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chemeClr val="bg1">
                    <a:lumMod val="50000"/>
                  </a:schemeClr>
                </a:solidFill>
                <a:effectLst/>
                <a:uLnTx/>
                <a:uFillTx/>
              </a:endParaRPr>
            </a:p>
          </p:txBody>
        </p:sp>
        <p:sp>
          <p:nvSpPr>
            <p:cNvPr id="8" name="椭圆 7"/>
            <p:cNvSpPr/>
            <p:nvPr/>
          </p:nvSpPr>
          <p:spPr>
            <a:xfrm>
              <a:off x="2193855" y="2586555"/>
              <a:ext cx="998364" cy="998364"/>
            </a:xfrm>
            <a:prstGeom prst="ellipse">
              <a:avLst/>
            </a:prstGeom>
            <a:solidFill>
              <a:schemeClr val="accent1"/>
            </a:solidFill>
            <a:ln w="57150" cap="flat" cmpd="sng" algn="ctr">
              <a:solidFill>
                <a:schemeClr val="bg1"/>
              </a:solid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8415" cmpd="sng">
                    <a:noFill/>
                    <a:prstDash val="solid"/>
                  </a:ln>
                  <a:solidFill>
                    <a:schemeClr val="bg1"/>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03</a:t>
              </a:r>
            </a:p>
          </p:txBody>
        </p:sp>
        <p:sp>
          <p:nvSpPr>
            <p:cNvPr id="9" name="椭圆 8"/>
            <p:cNvSpPr/>
            <p:nvPr/>
          </p:nvSpPr>
          <p:spPr>
            <a:xfrm>
              <a:off x="5959246" y="1336462"/>
              <a:ext cx="998364" cy="998364"/>
            </a:xfrm>
            <a:prstGeom prst="ellipse">
              <a:avLst/>
            </a:prstGeom>
            <a:solidFill>
              <a:schemeClr val="accent1"/>
            </a:solidFill>
            <a:ln w="57150" cap="flat" cmpd="sng" algn="ctr">
              <a:solidFill>
                <a:schemeClr val="bg1"/>
              </a:solid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3600" b="1" i="0" u="none" strike="noStrike" kern="0" cap="none" spc="0" normalizeH="0" baseline="0" noProof="0" dirty="0">
                  <a:ln w="18415" cmpd="sng">
                    <a:noFill/>
                    <a:prstDash val="solid"/>
                  </a:ln>
                  <a:solidFill>
                    <a:schemeClr val="bg1"/>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02</a:t>
              </a:r>
            </a:p>
          </p:txBody>
        </p:sp>
        <p:sp>
          <p:nvSpPr>
            <p:cNvPr id="10" name="椭圆 9"/>
            <p:cNvSpPr/>
            <p:nvPr/>
          </p:nvSpPr>
          <p:spPr>
            <a:xfrm>
              <a:off x="5361899" y="3556879"/>
              <a:ext cx="674183" cy="674183"/>
            </a:xfrm>
            <a:prstGeom prst="ellipse">
              <a:avLst/>
            </a:prstGeom>
            <a:solidFill>
              <a:schemeClr val="accent1"/>
            </a:solidFill>
            <a:ln w="57150" cap="flat" cmpd="sng" algn="ctr">
              <a:solidFill>
                <a:schemeClr val="bg1"/>
              </a:solidFill>
              <a:prstDash val="solid"/>
            </a:ln>
            <a:effectLst/>
          </p:spPr>
          <p:txBody>
            <a:bodyPr rot="0" spcFirstLastPara="0" vertOverflow="overflow" horzOverflow="overflow" vert="horz" wrap="square" lIns="0" tIns="0" rIns="0" bIns="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2800" b="1" i="0" u="none" strike="noStrike" kern="0" cap="none" spc="0" normalizeH="0" baseline="0" noProof="0" dirty="0">
                  <a:ln w="18415" cmpd="sng">
                    <a:noFill/>
                    <a:prstDash val="solid"/>
                  </a:ln>
                  <a:solidFill>
                    <a:schemeClr val="bg1"/>
                  </a:solidFill>
                  <a:effectLst/>
                  <a:uLnTx/>
                  <a:uFillTx/>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04</a:t>
              </a:r>
            </a:p>
          </p:txBody>
        </p:sp>
      </p:grpSp>
      <p:sp>
        <p:nvSpPr>
          <p:cNvPr id="11" name="KSO_GT1"/>
          <p:cNvSpPr txBox="1"/>
          <p:nvPr/>
        </p:nvSpPr>
        <p:spPr>
          <a:xfrm>
            <a:off x="1861358" y="1711396"/>
            <a:ext cx="2117624" cy="728196"/>
          </a:xfrm>
          <a:prstGeom prst="rect">
            <a:avLst/>
          </a:prstGeom>
          <a:noFill/>
        </p:spPr>
        <p:txBody>
          <a:bodyPr wrap="square" lIns="0" tIns="0" rIns="0" bIns="0" rtlCol="0" anchor="ctr" anchorCtr="1">
            <a:noAutofit/>
          </a:bodyPr>
          <a:lstStyle/>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p:txBody>
      </p:sp>
      <p:sp>
        <p:nvSpPr>
          <p:cNvPr id="12" name="KSO_GT3"/>
          <p:cNvSpPr txBox="1"/>
          <p:nvPr/>
        </p:nvSpPr>
        <p:spPr>
          <a:xfrm>
            <a:off x="1257142" y="3439588"/>
            <a:ext cx="2117623" cy="728196"/>
          </a:xfrm>
          <a:prstGeom prst="rect">
            <a:avLst/>
          </a:prstGeom>
          <a:noFill/>
        </p:spPr>
        <p:txBody>
          <a:bodyPr wrap="square" lIns="0" tIns="0" rIns="0" bIns="0" rtlCol="0" anchor="ctr" anchorCtr="1">
            <a:noAutofit/>
          </a:bodyPr>
          <a:lstStyle/>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p:txBody>
      </p:sp>
      <p:sp>
        <p:nvSpPr>
          <p:cNvPr id="13" name="KSO_GT2"/>
          <p:cNvSpPr txBox="1"/>
          <p:nvPr/>
        </p:nvSpPr>
        <p:spPr>
          <a:xfrm>
            <a:off x="5362815" y="2203577"/>
            <a:ext cx="2117624" cy="728196"/>
          </a:xfrm>
          <a:prstGeom prst="rect">
            <a:avLst/>
          </a:prstGeom>
          <a:noFill/>
        </p:spPr>
        <p:txBody>
          <a:bodyPr wrap="square" lIns="0" tIns="0" rIns="0" bIns="0" rtlCol="0" anchor="ctr" anchorCtr="1">
            <a:noAutofit/>
          </a:bodyPr>
          <a:lstStyle/>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p:txBody>
      </p:sp>
      <p:sp>
        <p:nvSpPr>
          <p:cNvPr id="14" name="KSO_GT4"/>
          <p:cNvSpPr txBox="1"/>
          <p:nvPr/>
        </p:nvSpPr>
        <p:spPr>
          <a:xfrm>
            <a:off x="6036083" y="3428649"/>
            <a:ext cx="1992301" cy="940587"/>
          </a:xfrm>
          <a:prstGeom prst="rect">
            <a:avLst/>
          </a:prstGeom>
          <a:noFill/>
        </p:spPr>
        <p:txBody>
          <a:bodyPr wrap="square" lIns="0" tIns="0" rIns="0" bIns="0" rtlCol="0" anchor="ctr" anchorCtr="1">
            <a:noAutofit/>
          </a:bodyPr>
          <a:lstStyle/>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a:p>
            <a:pPr>
              <a:lnSpc>
                <a:spcPct val="120000"/>
              </a:lnSpc>
              <a:defRPr/>
            </a:pPr>
            <a:r>
              <a:rPr lang="zh-CN" altLang="en-US" sz="1400" kern="0" dirty="0">
                <a:solidFill>
                  <a:schemeClr val="bg1">
                    <a:lumMod val="50000"/>
                  </a:schemeClr>
                </a:solidFill>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单击此处添加文本</a:t>
            </a:r>
          </a:p>
        </p:txBody>
      </p:sp>
    </p:spTree>
  </p:cSld>
  <p:clrMapOvr>
    <a:masterClrMapping/>
  </p:clrMapOvr>
  <p:transition spd="slow" advTm="138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1000"/>
                                        <p:tgtEl>
                                          <p:spTgt spid="2"/>
                                        </p:tgtEl>
                                      </p:cBhvr>
                                    </p:animEffect>
                                  </p:childTnLst>
                                </p:cTn>
                              </p:par>
                            </p:childTnLst>
                          </p:cTn>
                        </p:par>
                        <p:par>
                          <p:cTn id="8" fill="hold">
                            <p:stCondLst>
                              <p:cond delay="1000"/>
                            </p:stCondLst>
                            <p:childTnLst>
                              <p:par>
                                <p:cTn id="9" presetID="22"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up)">
                                      <p:cBhvr>
                                        <p:cTn id="11" dur="500"/>
                                        <p:tgtEl>
                                          <p:spTgt spid="11"/>
                                        </p:tgtEl>
                                      </p:cBhvr>
                                    </p:animEffect>
                                  </p:childTnLst>
                                </p:cTn>
                              </p:par>
                              <p:par>
                                <p:cTn id="12" presetID="47" presetClass="entr" presetSubtype="0" fill="hold" grpId="0" nodeType="withEffect">
                                  <p:stCondLst>
                                    <p:cond delay="20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anim calcmode="lin" valueType="num">
                                      <p:cBhvr>
                                        <p:cTn id="15" dur="500" fill="hold"/>
                                        <p:tgtEl>
                                          <p:spTgt spid="13"/>
                                        </p:tgtEl>
                                        <p:attrNameLst>
                                          <p:attrName>ppt_x</p:attrName>
                                        </p:attrNameLst>
                                      </p:cBhvr>
                                      <p:tavLst>
                                        <p:tav tm="0">
                                          <p:val>
                                            <p:strVal val="#ppt_x"/>
                                          </p:val>
                                        </p:tav>
                                        <p:tav tm="100000">
                                          <p:val>
                                            <p:strVal val="#ppt_x"/>
                                          </p:val>
                                        </p:tav>
                                      </p:tavLst>
                                    </p:anim>
                                    <p:anim calcmode="lin" valueType="num">
                                      <p:cBhvr>
                                        <p:cTn id="16" dur="500" fill="hold"/>
                                        <p:tgtEl>
                                          <p:spTgt spid="13"/>
                                        </p:tgtEl>
                                        <p:attrNameLst>
                                          <p:attrName>ppt_y</p:attrName>
                                        </p:attrNameLst>
                                      </p:cBhvr>
                                      <p:tavLst>
                                        <p:tav tm="0">
                                          <p:val>
                                            <p:strVal val="#ppt_y-.1"/>
                                          </p:val>
                                        </p:tav>
                                        <p:tav tm="100000">
                                          <p:val>
                                            <p:strVal val="#ppt_y"/>
                                          </p:val>
                                        </p:tav>
                                      </p:tavLst>
                                    </p:anim>
                                  </p:childTnLst>
                                </p:cTn>
                              </p:par>
                              <p:par>
                                <p:cTn id="17" presetID="22" presetClass="entr" presetSubtype="1" fill="hold" grpId="0" nodeType="withEffect">
                                  <p:stCondLst>
                                    <p:cond delay="300"/>
                                  </p:stCondLst>
                                  <p:childTnLst>
                                    <p:set>
                                      <p:cBhvr>
                                        <p:cTn id="18" dur="1" fill="hold">
                                          <p:stCondLst>
                                            <p:cond delay="0"/>
                                          </p:stCondLst>
                                        </p:cTn>
                                        <p:tgtEl>
                                          <p:spTgt spid="12"/>
                                        </p:tgtEl>
                                        <p:attrNameLst>
                                          <p:attrName>style.visibility</p:attrName>
                                        </p:attrNameLst>
                                      </p:cBhvr>
                                      <p:to>
                                        <p:strVal val="visible"/>
                                      </p:to>
                                    </p:set>
                                    <p:animEffect transition="in" filter="wipe(up)">
                                      <p:cBhvr>
                                        <p:cTn id="19" dur="500"/>
                                        <p:tgtEl>
                                          <p:spTgt spid="12"/>
                                        </p:tgtEl>
                                      </p:cBhvr>
                                    </p:animEffect>
                                  </p:childTnLst>
                                </p:cTn>
                              </p:par>
                              <p:par>
                                <p:cTn id="20" presetID="47" presetClass="entr" presetSubtype="0" fill="hold" grpId="0"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anim calcmode="lin" valueType="num">
                                      <p:cBhvr>
                                        <p:cTn id="23" dur="500" fill="hold"/>
                                        <p:tgtEl>
                                          <p:spTgt spid="14"/>
                                        </p:tgtEl>
                                        <p:attrNameLst>
                                          <p:attrName>ppt_x</p:attrName>
                                        </p:attrNameLst>
                                      </p:cBhvr>
                                      <p:tavLst>
                                        <p:tav tm="0">
                                          <p:val>
                                            <p:strVal val="#ppt_x"/>
                                          </p:val>
                                        </p:tav>
                                        <p:tav tm="100000">
                                          <p:val>
                                            <p:strVal val="#ppt_x"/>
                                          </p:val>
                                        </p:tav>
                                      </p:tavLst>
                                    </p:anim>
                                    <p:anim calcmode="lin" valueType="num">
                                      <p:cBhvr>
                                        <p:cTn id="24" dur="5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p:txBody>
          <a:bodyPr/>
          <a:lstStyle/>
          <a:p>
            <a:r>
              <a:rPr lang="zh-CN" altLang="en-US" dirty="0"/>
              <a:t>单击添加标题</a:t>
            </a:r>
          </a:p>
        </p:txBody>
      </p:sp>
      <p:sp>
        <p:nvSpPr>
          <p:cNvPr id="4" name="任意多边形 3"/>
          <p:cNvSpPr/>
          <p:nvPr/>
        </p:nvSpPr>
        <p:spPr>
          <a:xfrm rot="10800000">
            <a:off x="3863673" y="2199565"/>
            <a:ext cx="1297989" cy="1968275"/>
          </a:xfrm>
          <a:custGeom>
            <a:avLst/>
            <a:gdLst>
              <a:gd name="connsiteX0" fmla="*/ 320923 w 1297989"/>
              <a:gd name="connsiteY0" fmla="*/ 1430869 h 1968275"/>
              <a:gd name="connsiteX1" fmla="*/ 305551 w 1297989"/>
              <a:gd name="connsiteY1" fmla="*/ 1354608 h 1968275"/>
              <a:gd name="connsiteX2" fmla="*/ 278731 w 1297989"/>
              <a:gd name="connsiteY2" fmla="*/ 1179709 h 1968275"/>
              <a:gd name="connsiteX3" fmla="*/ 250257 w 1297989"/>
              <a:gd name="connsiteY3" fmla="*/ 871159 h 1968275"/>
              <a:gd name="connsiteX4" fmla="*/ 186221 w 1297989"/>
              <a:gd name="connsiteY4" fmla="*/ 657852 h 1968275"/>
              <a:gd name="connsiteX5" fmla="*/ 161836 w 1297989"/>
              <a:gd name="connsiteY5" fmla="*/ 610560 h 1968275"/>
              <a:gd name="connsiteX6" fmla="*/ 189581 w 1297989"/>
              <a:gd name="connsiteY6" fmla="*/ 553240 h 1968275"/>
              <a:gd name="connsiteX7" fmla="*/ 421829 w 1297989"/>
              <a:gd name="connsiteY7" fmla="*/ 265316 h 1968275"/>
              <a:gd name="connsiteX8" fmla="*/ 841399 w 1297989"/>
              <a:gd name="connsiteY8" fmla="*/ 67872 h 1968275"/>
              <a:gd name="connsiteX9" fmla="*/ 1174586 w 1297989"/>
              <a:gd name="connsiteY9" fmla="*/ 12341 h 1968275"/>
              <a:gd name="connsiteX10" fmla="*/ 1297989 w 1297989"/>
              <a:gd name="connsiteY10" fmla="*/ 0 h 1968275"/>
              <a:gd name="connsiteX11" fmla="*/ 1291819 w 1297989"/>
              <a:gd name="connsiteY11" fmla="*/ 86382 h 1968275"/>
              <a:gd name="connsiteX12" fmla="*/ 1279479 w 1297989"/>
              <a:gd name="connsiteY12" fmla="*/ 357868 h 1968275"/>
              <a:gd name="connsiteX13" fmla="*/ 1199267 w 1297989"/>
              <a:gd name="connsiteY13" fmla="*/ 629355 h 1968275"/>
              <a:gd name="connsiteX14" fmla="*/ 1007993 w 1297989"/>
              <a:gd name="connsiteY14" fmla="*/ 851480 h 1968275"/>
              <a:gd name="connsiteX15" fmla="*/ 755017 w 1297989"/>
              <a:gd name="connsiteY15" fmla="*/ 1030414 h 1968275"/>
              <a:gd name="connsiteX16" fmla="*/ 483531 w 1297989"/>
              <a:gd name="connsiteY16" fmla="*/ 1258709 h 1968275"/>
              <a:gd name="connsiteX17" fmla="*/ 370926 w 1297989"/>
              <a:gd name="connsiteY17" fmla="*/ 1372471 h 1968275"/>
              <a:gd name="connsiteX18" fmla="*/ 2260 w 1297989"/>
              <a:gd name="connsiteY18" fmla="*/ 1968275 h 1968275"/>
              <a:gd name="connsiteX19" fmla="*/ 0 w 1297989"/>
              <a:gd name="connsiteY19" fmla="*/ 1863560 h 1968275"/>
              <a:gd name="connsiteX20" fmla="*/ 36254 w 1297989"/>
              <a:gd name="connsiteY20" fmla="*/ 1890574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7989" h="1968275">
                <a:moveTo>
                  <a:pt x="320923" y="1430869"/>
                </a:moveTo>
                <a:lnTo>
                  <a:pt x="305551" y="1354608"/>
                </a:lnTo>
                <a:cubicBezTo>
                  <a:pt x="295216" y="1294612"/>
                  <a:pt x="286267" y="1234527"/>
                  <a:pt x="278731" y="1179709"/>
                </a:cubicBezTo>
                <a:cubicBezTo>
                  <a:pt x="263657" y="1070074"/>
                  <a:pt x="271124" y="968702"/>
                  <a:pt x="250257" y="871159"/>
                </a:cubicBezTo>
                <a:cubicBezTo>
                  <a:pt x="234607" y="798001"/>
                  <a:pt x="215373" y="724110"/>
                  <a:pt x="186221" y="657852"/>
                </a:cubicBezTo>
                <a:lnTo>
                  <a:pt x="161836" y="610560"/>
                </a:lnTo>
                <a:lnTo>
                  <a:pt x="189581" y="553240"/>
                </a:lnTo>
                <a:cubicBezTo>
                  <a:pt x="253115" y="439044"/>
                  <a:pt x="333134" y="340900"/>
                  <a:pt x="421829" y="265316"/>
                </a:cubicBezTo>
                <a:cubicBezTo>
                  <a:pt x="540090" y="164537"/>
                  <a:pt x="682003" y="113119"/>
                  <a:pt x="841399" y="67872"/>
                </a:cubicBezTo>
                <a:lnTo>
                  <a:pt x="1174586" y="12341"/>
                </a:lnTo>
                <a:cubicBezTo>
                  <a:pt x="1250685" y="1029"/>
                  <a:pt x="1274337" y="514"/>
                  <a:pt x="1297989" y="0"/>
                </a:cubicBezTo>
                <a:cubicBezTo>
                  <a:pt x="1295932" y="28794"/>
                  <a:pt x="1294904" y="26738"/>
                  <a:pt x="1291819" y="86382"/>
                </a:cubicBezTo>
                <a:cubicBezTo>
                  <a:pt x="1288734" y="146027"/>
                  <a:pt x="1294904" y="267373"/>
                  <a:pt x="1279479" y="357868"/>
                </a:cubicBezTo>
                <a:cubicBezTo>
                  <a:pt x="1264053" y="448364"/>
                  <a:pt x="1244515" y="547086"/>
                  <a:pt x="1199267" y="629355"/>
                </a:cubicBezTo>
                <a:cubicBezTo>
                  <a:pt x="1154019" y="711623"/>
                  <a:pt x="1082034" y="784636"/>
                  <a:pt x="1007993" y="851480"/>
                </a:cubicBezTo>
                <a:cubicBezTo>
                  <a:pt x="933951" y="918323"/>
                  <a:pt x="842427" y="962542"/>
                  <a:pt x="755017" y="1030414"/>
                </a:cubicBezTo>
                <a:cubicBezTo>
                  <a:pt x="667606" y="1098285"/>
                  <a:pt x="564771" y="1181582"/>
                  <a:pt x="483531" y="1258709"/>
                </a:cubicBezTo>
                <a:cubicBezTo>
                  <a:pt x="442910" y="1297272"/>
                  <a:pt x="406147" y="1334293"/>
                  <a:pt x="370926" y="1372471"/>
                </a:cubicBezTo>
                <a:close/>
                <a:moveTo>
                  <a:pt x="2260" y="1968275"/>
                </a:moveTo>
                <a:lnTo>
                  <a:pt x="0" y="1863560"/>
                </a:lnTo>
                <a:lnTo>
                  <a:pt x="36254" y="1890574"/>
                </a:lnTo>
                <a:close/>
              </a:path>
            </a:pathLst>
          </a:custGeom>
          <a:solidFill>
            <a:schemeClr val="accent1"/>
          </a:solidFill>
          <a:ln w="38100" cap="flat" cmpd="sng" algn="ctr">
            <a:solidFill>
              <a:schemeClr val="bg1"/>
            </a:solidFill>
            <a:prstDash val="solid"/>
          </a:ln>
          <a:effectLst/>
        </p:spPr>
        <p:txBody>
          <a:bodyPr wrap="square" tIns="0" bIns="684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400" b="0" i="0" u="none" strike="noStrike" kern="0" cap="none" spc="0" normalizeH="0" baseline="0" noProof="0" dirty="0">
                <a:ln>
                  <a:noFill/>
                </a:ln>
                <a:solidFill>
                  <a:srgbClr val="FFFFFF"/>
                </a:solidFill>
                <a:effectLst/>
                <a:uLnTx/>
                <a:uFillTx/>
                <a:latin typeface="Stencil Std" panose="04020904080802020404" pitchFamily="82" charset="0"/>
              </a:rPr>
              <a:t>5</a:t>
            </a:r>
            <a:endParaRPr kumimoji="0" lang="zh-CN" altLang="en-US" sz="2400" b="0" i="0" u="none" strike="noStrike" kern="0" cap="none" spc="0" normalizeH="0" baseline="0" noProof="0" dirty="0">
              <a:ln>
                <a:noFill/>
              </a:ln>
              <a:solidFill>
                <a:srgbClr val="FFFFFF"/>
              </a:solidFill>
              <a:effectLst/>
              <a:uLnTx/>
              <a:uFillTx/>
              <a:latin typeface="Stencil Std" panose="04020904080802020404" pitchFamily="82" charset="0"/>
            </a:endParaRPr>
          </a:p>
        </p:txBody>
      </p:sp>
      <p:sp>
        <p:nvSpPr>
          <p:cNvPr id="5" name="任意多边形 4"/>
          <p:cNvSpPr/>
          <p:nvPr/>
        </p:nvSpPr>
        <p:spPr>
          <a:xfrm rot="7200000">
            <a:off x="4327025" y="1935315"/>
            <a:ext cx="1297989" cy="1968275"/>
          </a:xfrm>
          <a:custGeom>
            <a:avLst/>
            <a:gdLst>
              <a:gd name="connsiteX0" fmla="*/ 320923 w 1297989"/>
              <a:gd name="connsiteY0" fmla="*/ 1430869 h 1968275"/>
              <a:gd name="connsiteX1" fmla="*/ 305551 w 1297989"/>
              <a:gd name="connsiteY1" fmla="*/ 1354609 h 1968275"/>
              <a:gd name="connsiteX2" fmla="*/ 278731 w 1297989"/>
              <a:gd name="connsiteY2" fmla="*/ 1179710 h 1968275"/>
              <a:gd name="connsiteX3" fmla="*/ 250257 w 1297989"/>
              <a:gd name="connsiteY3" fmla="*/ 871159 h 1968275"/>
              <a:gd name="connsiteX4" fmla="*/ 186220 w 1297989"/>
              <a:gd name="connsiteY4" fmla="*/ 657852 h 1968275"/>
              <a:gd name="connsiteX5" fmla="*/ 161836 w 1297989"/>
              <a:gd name="connsiteY5" fmla="*/ 610560 h 1968275"/>
              <a:gd name="connsiteX6" fmla="*/ 189581 w 1297989"/>
              <a:gd name="connsiteY6" fmla="*/ 553240 h 1968275"/>
              <a:gd name="connsiteX7" fmla="*/ 421829 w 1297989"/>
              <a:gd name="connsiteY7" fmla="*/ 265316 h 1968275"/>
              <a:gd name="connsiteX8" fmla="*/ 841398 w 1297989"/>
              <a:gd name="connsiteY8" fmla="*/ 67871 h 1968275"/>
              <a:gd name="connsiteX9" fmla="*/ 1174586 w 1297989"/>
              <a:gd name="connsiteY9" fmla="*/ 12340 h 1968275"/>
              <a:gd name="connsiteX10" fmla="*/ 1297989 w 1297989"/>
              <a:gd name="connsiteY10" fmla="*/ 0 h 1968275"/>
              <a:gd name="connsiteX11" fmla="*/ 1291819 w 1297989"/>
              <a:gd name="connsiteY11" fmla="*/ 86382 h 1968275"/>
              <a:gd name="connsiteX12" fmla="*/ 1279478 w 1297989"/>
              <a:gd name="connsiteY12" fmla="*/ 357868 h 1968275"/>
              <a:gd name="connsiteX13" fmla="*/ 1199267 w 1297989"/>
              <a:gd name="connsiteY13" fmla="*/ 629354 h 1968275"/>
              <a:gd name="connsiteX14" fmla="*/ 1007992 w 1297989"/>
              <a:gd name="connsiteY14" fmla="*/ 851480 h 1968275"/>
              <a:gd name="connsiteX15" fmla="*/ 755017 w 1297989"/>
              <a:gd name="connsiteY15" fmla="*/ 1030413 h 1968275"/>
              <a:gd name="connsiteX16" fmla="*/ 483530 w 1297989"/>
              <a:gd name="connsiteY16" fmla="*/ 1258709 h 1968275"/>
              <a:gd name="connsiteX17" fmla="*/ 370925 w 1297989"/>
              <a:gd name="connsiteY17" fmla="*/ 1372471 h 1968275"/>
              <a:gd name="connsiteX18" fmla="*/ 2259 w 1297989"/>
              <a:gd name="connsiteY18" fmla="*/ 1968275 h 1968275"/>
              <a:gd name="connsiteX19" fmla="*/ 0 w 1297989"/>
              <a:gd name="connsiteY19" fmla="*/ 1863561 h 1968275"/>
              <a:gd name="connsiteX20" fmla="*/ 36253 w 1297989"/>
              <a:gd name="connsiteY20" fmla="*/ 1890575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7989" h="1968275">
                <a:moveTo>
                  <a:pt x="320923" y="1430869"/>
                </a:moveTo>
                <a:lnTo>
                  <a:pt x="305551" y="1354609"/>
                </a:lnTo>
                <a:cubicBezTo>
                  <a:pt x="295216" y="1294613"/>
                  <a:pt x="286267" y="1234527"/>
                  <a:pt x="278731" y="1179710"/>
                </a:cubicBezTo>
                <a:cubicBezTo>
                  <a:pt x="263657" y="1070075"/>
                  <a:pt x="271124" y="968703"/>
                  <a:pt x="250257" y="871159"/>
                </a:cubicBezTo>
                <a:cubicBezTo>
                  <a:pt x="234607" y="798002"/>
                  <a:pt x="215372" y="724111"/>
                  <a:pt x="186220" y="657852"/>
                </a:cubicBezTo>
                <a:lnTo>
                  <a:pt x="161836" y="610560"/>
                </a:lnTo>
                <a:lnTo>
                  <a:pt x="189581" y="553240"/>
                </a:lnTo>
                <a:cubicBezTo>
                  <a:pt x="253114" y="439044"/>
                  <a:pt x="333133" y="340900"/>
                  <a:pt x="421829" y="265316"/>
                </a:cubicBezTo>
                <a:cubicBezTo>
                  <a:pt x="540090" y="164537"/>
                  <a:pt x="682003" y="113119"/>
                  <a:pt x="841398" y="67871"/>
                </a:cubicBezTo>
                <a:lnTo>
                  <a:pt x="1174586" y="12340"/>
                </a:lnTo>
                <a:cubicBezTo>
                  <a:pt x="1250685" y="1028"/>
                  <a:pt x="1274337" y="514"/>
                  <a:pt x="1297989" y="0"/>
                </a:cubicBezTo>
                <a:cubicBezTo>
                  <a:pt x="1295932" y="28794"/>
                  <a:pt x="1294904" y="26737"/>
                  <a:pt x="1291819" y="86382"/>
                </a:cubicBezTo>
                <a:cubicBezTo>
                  <a:pt x="1288734" y="146027"/>
                  <a:pt x="1294904" y="267373"/>
                  <a:pt x="1279478" y="357868"/>
                </a:cubicBezTo>
                <a:cubicBezTo>
                  <a:pt x="1264054" y="448364"/>
                  <a:pt x="1244515" y="547086"/>
                  <a:pt x="1199267" y="629354"/>
                </a:cubicBezTo>
                <a:cubicBezTo>
                  <a:pt x="1154019" y="711623"/>
                  <a:pt x="1082034" y="784636"/>
                  <a:pt x="1007992" y="851480"/>
                </a:cubicBezTo>
                <a:cubicBezTo>
                  <a:pt x="933951" y="918323"/>
                  <a:pt x="842427" y="962542"/>
                  <a:pt x="755017" y="1030413"/>
                </a:cubicBezTo>
                <a:cubicBezTo>
                  <a:pt x="667606" y="1098285"/>
                  <a:pt x="564770" y="1181582"/>
                  <a:pt x="483530" y="1258709"/>
                </a:cubicBezTo>
                <a:cubicBezTo>
                  <a:pt x="442910" y="1297272"/>
                  <a:pt x="406147" y="1334293"/>
                  <a:pt x="370925" y="1372471"/>
                </a:cubicBezTo>
                <a:close/>
                <a:moveTo>
                  <a:pt x="2259" y="1968275"/>
                </a:moveTo>
                <a:lnTo>
                  <a:pt x="0" y="1863561"/>
                </a:lnTo>
                <a:lnTo>
                  <a:pt x="36253" y="1890575"/>
                </a:lnTo>
                <a:close/>
              </a:path>
            </a:pathLst>
          </a:custGeom>
          <a:solidFill>
            <a:schemeClr val="accent1"/>
          </a:solidFill>
          <a:ln w="38100" cap="flat" cmpd="sng" algn="ctr">
            <a:solidFill>
              <a:schemeClr val="bg1"/>
            </a:solidFill>
            <a:prstDash val="solid"/>
          </a:ln>
          <a:effectLst/>
        </p:spPr>
        <p:txBody>
          <a:bodyPr wrap="square" tIns="0" bIns="684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400" b="0" i="0" u="none" strike="noStrike" kern="0" cap="none" spc="0" normalizeH="0" baseline="0" noProof="0" dirty="0">
                <a:ln>
                  <a:noFill/>
                </a:ln>
                <a:solidFill>
                  <a:srgbClr val="FFFFFF"/>
                </a:solidFill>
                <a:effectLst/>
                <a:uLnTx/>
                <a:uFillTx/>
                <a:latin typeface="Stencil Std" panose="04020904080802020404" pitchFamily="82" charset="0"/>
              </a:rPr>
              <a:t>4</a:t>
            </a:r>
            <a:endParaRPr kumimoji="0" lang="zh-CN" altLang="en-US" sz="2400" b="0" i="0" u="none" strike="noStrike" kern="0" cap="none" spc="0" normalizeH="0" baseline="0" noProof="0" dirty="0">
              <a:ln>
                <a:noFill/>
              </a:ln>
              <a:solidFill>
                <a:srgbClr val="FFFFFF"/>
              </a:solidFill>
              <a:effectLst/>
              <a:uLnTx/>
              <a:uFillTx/>
              <a:latin typeface="Stencil Std" panose="04020904080802020404" pitchFamily="82" charset="0"/>
            </a:endParaRPr>
          </a:p>
        </p:txBody>
      </p:sp>
      <p:sp>
        <p:nvSpPr>
          <p:cNvPr id="6" name="任意多边形 5"/>
          <p:cNvSpPr/>
          <p:nvPr/>
        </p:nvSpPr>
        <p:spPr>
          <a:xfrm rot="3600000">
            <a:off x="4329268" y="1401577"/>
            <a:ext cx="1298767" cy="1968275"/>
          </a:xfrm>
          <a:custGeom>
            <a:avLst/>
            <a:gdLst>
              <a:gd name="connsiteX0" fmla="*/ 0 w 1298767"/>
              <a:gd name="connsiteY0" fmla="*/ 1862981 h 1968275"/>
              <a:gd name="connsiteX1" fmla="*/ 37031 w 1298767"/>
              <a:gd name="connsiteY1" fmla="*/ 1890575 h 1968275"/>
              <a:gd name="connsiteX2" fmla="*/ 3037 w 1298767"/>
              <a:gd name="connsiteY2" fmla="*/ 1968275 h 1968275"/>
              <a:gd name="connsiteX3" fmla="*/ 190359 w 1298767"/>
              <a:gd name="connsiteY3" fmla="*/ 553240 h 1968275"/>
              <a:gd name="connsiteX4" fmla="*/ 422607 w 1298767"/>
              <a:gd name="connsiteY4" fmla="*/ 265316 h 1968275"/>
              <a:gd name="connsiteX5" fmla="*/ 842177 w 1298767"/>
              <a:gd name="connsiteY5" fmla="*/ 67871 h 1968275"/>
              <a:gd name="connsiteX6" fmla="*/ 1175364 w 1298767"/>
              <a:gd name="connsiteY6" fmla="*/ 12340 h 1968275"/>
              <a:gd name="connsiteX7" fmla="*/ 1298767 w 1298767"/>
              <a:gd name="connsiteY7" fmla="*/ 0 h 1968275"/>
              <a:gd name="connsiteX8" fmla="*/ 1292597 w 1298767"/>
              <a:gd name="connsiteY8" fmla="*/ 86382 h 1968275"/>
              <a:gd name="connsiteX9" fmla="*/ 1280257 w 1298767"/>
              <a:gd name="connsiteY9" fmla="*/ 357868 h 1968275"/>
              <a:gd name="connsiteX10" fmla="*/ 1200045 w 1298767"/>
              <a:gd name="connsiteY10" fmla="*/ 629354 h 1968275"/>
              <a:gd name="connsiteX11" fmla="*/ 1008770 w 1298767"/>
              <a:gd name="connsiteY11" fmla="*/ 851479 h 1968275"/>
              <a:gd name="connsiteX12" fmla="*/ 755795 w 1298767"/>
              <a:gd name="connsiteY12" fmla="*/ 1030414 h 1968275"/>
              <a:gd name="connsiteX13" fmla="*/ 484308 w 1298767"/>
              <a:gd name="connsiteY13" fmla="*/ 1258709 h 1968275"/>
              <a:gd name="connsiteX14" fmla="*/ 371703 w 1298767"/>
              <a:gd name="connsiteY14" fmla="*/ 1372471 h 1968275"/>
              <a:gd name="connsiteX15" fmla="*/ 321700 w 1298767"/>
              <a:gd name="connsiteY15" fmla="*/ 1430870 h 1968275"/>
              <a:gd name="connsiteX16" fmla="*/ 306328 w 1298767"/>
              <a:gd name="connsiteY16" fmla="*/ 1354609 h 1968275"/>
              <a:gd name="connsiteX17" fmla="*/ 279508 w 1298767"/>
              <a:gd name="connsiteY17" fmla="*/ 1179710 h 1968275"/>
              <a:gd name="connsiteX18" fmla="*/ 251034 w 1298767"/>
              <a:gd name="connsiteY18" fmla="*/ 871159 h 1968275"/>
              <a:gd name="connsiteX19" fmla="*/ 186998 w 1298767"/>
              <a:gd name="connsiteY19" fmla="*/ 657852 h 1968275"/>
              <a:gd name="connsiteX20" fmla="*/ 162614 w 1298767"/>
              <a:gd name="connsiteY20" fmla="*/ 610560 h 1968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98767" h="1968275">
                <a:moveTo>
                  <a:pt x="0" y="1862981"/>
                </a:moveTo>
                <a:lnTo>
                  <a:pt x="37031" y="1890575"/>
                </a:lnTo>
                <a:lnTo>
                  <a:pt x="3037" y="1968275"/>
                </a:lnTo>
                <a:close/>
                <a:moveTo>
                  <a:pt x="190359" y="553240"/>
                </a:moveTo>
                <a:cubicBezTo>
                  <a:pt x="253892" y="439044"/>
                  <a:pt x="333911" y="340900"/>
                  <a:pt x="422607" y="265316"/>
                </a:cubicBezTo>
                <a:cubicBezTo>
                  <a:pt x="540868" y="164537"/>
                  <a:pt x="682781" y="113119"/>
                  <a:pt x="842177" y="67871"/>
                </a:cubicBezTo>
                <a:lnTo>
                  <a:pt x="1175364" y="12340"/>
                </a:lnTo>
                <a:cubicBezTo>
                  <a:pt x="1251463" y="1028"/>
                  <a:pt x="1275115" y="514"/>
                  <a:pt x="1298767" y="0"/>
                </a:cubicBezTo>
                <a:cubicBezTo>
                  <a:pt x="1296710" y="28794"/>
                  <a:pt x="1295682" y="26737"/>
                  <a:pt x="1292597" y="86382"/>
                </a:cubicBezTo>
                <a:cubicBezTo>
                  <a:pt x="1289512" y="146027"/>
                  <a:pt x="1295682" y="267373"/>
                  <a:pt x="1280257" y="357868"/>
                </a:cubicBezTo>
                <a:cubicBezTo>
                  <a:pt x="1264831" y="448363"/>
                  <a:pt x="1245293" y="547086"/>
                  <a:pt x="1200045" y="629354"/>
                </a:cubicBezTo>
                <a:cubicBezTo>
                  <a:pt x="1154797" y="711623"/>
                  <a:pt x="1082812" y="784636"/>
                  <a:pt x="1008770" y="851479"/>
                </a:cubicBezTo>
                <a:cubicBezTo>
                  <a:pt x="934729" y="918323"/>
                  <a:pt x="843205" y="962542"/>
                  <a:pt x="755795" y="1030414"/>
                </a:cubicBezTo>
                <a:cubicBezTo>
                  <a:pt x="668384" y="1098285"/>
                  <a:pt x="565549" y="1181582"/>
                  <a:pt x="484308" y="1258709"/>
                </a:cubicBezTo>
                <a:cubicBezTo>
                  <a:pt x="443688" y="1297272"/>
                  <a:pt x="406924" y="1334293"/>
                  <a:pt x="371703" y="1372471"/>
                </a:cubicBezTo>
                <a:lnTo>
                  <a:pt x="321700" y="1430870"/>
                </a:lnTo>
                <a:lnTo>
                  <a:pt x="306328" y="1354609"/>
                </a:lnTo>
                <a:cubicBezTo>
                  <a:pt x="295993" y="1294613"/>
                  <a:pt x="287044" y="1234527"/>
                  <a:pt x="279508" y="1179710"/>
                </a:cubicBezTo>
                <a:cubicBezTo>
                  <a:pt x="264434" y="1070074"/>
                  <a:pt x="271901" y="968703"/>
                  <a:pt x="251034" y="871159"/>
                </a:cubicBezTo>
                <a:cubicBezTo>
                  <a:pt x="235384" y="798001"/>
                  <a:pt x="216149" y="724110"/>
                  <a:pt x="186998" y="657852"/>
                </a:cubicBezTo>
                <a:lnTo>
                  <a:pt x="162614" y="610560"/>
                </a:lnTo>
                <a:close/>
              </a:path>
            </a:pathLst>
          </a:custGeom>
          <a:solidFill>
            <a:schemeClr val="accent1"/>
          </a:solidFill>
          <a:ln w="38100" cap="flat" cmpd="sng" algn="ctr">
            <a:solidFill>
              <a:schemeClr val="bg1"/>
            </a:solidFill>
            <a:prstDash val="solid"/>
          </a:ln>
          <a:effectLst/>
        </p:spPr>
        <p:txBody>
          <a:bodyPr wrap="square" tIns="0" bIns="684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400" b="0" i="0" u="none" strike="noStrike" kern="0" cap="none" spc="0" normalizeH="0" baseline="0" noProof="0" dirty="0">
                <a:ln>
                  <a:noFill/>
                </a:ln>
                <a:solidFill>
                  <a:srgbClr val="FFFFFF"/>
                </a:solidFill>
                <a:effectLst/>
                <a:uLnTx/>
                <a:uFillTx/>
                <a:latin typeface="Stencil Std" panose="04020904080802020404" pitchFamily="82" charset="0"/>
              </a:rPr>
              <a:t>3</a:t>
            </a:r>
            <a:endParaRPr kumimoji="0" lang="zh-CN" altLang="en-US" sz="2400" b="0" i="0" u="none" strike="noStrike" kern="0" cap="none" spc="0" normalizeH="0" baseline="0" noProof="0" dirty="0">
              <a:ln>
                <a:noFill/>
              </a:ln>
              <a:solidFill>
                <a:srgbClr val="FFFFFF"/>
              </a:solidFill>
              <a:effectLst/>
              <a:uLnTx/>
              <a:uFillTx/>
              <a:latin typeface="Stencil Std" panose="04020904080802020404" pitchFamily="82" charset="0"/>
            </a:endParaRPr>
          </a:p>
        </p:txBody>
      </p:sp>
      <p:sp>
        <p:nvSpPr>
          <p:cNvPr id="7" name="TextBox 34"/>
          <p:cNvSpPr txBox="1"/>
          <p:nvPr/>
        </p:nvSpPr>
        <p:spPr>
          <a:xfrm>
            <a:off x="5686892" y="3758695"/>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TextBox 34"/>
          <p:cNvSpPr txBox="1"/>
          <p:nvPr/>
        </p:nvSpPr>
        <p:spPr>
          <a:xfrm>
            <a:off x="2541086" y="771550"/>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TextBox 34"/>
          <p:cNvSpPr txBox="1"/>
          <p:nvPr/>
        </p:nvSpPr>
        <p:spPr>
          <a:xfrm>
            <a:off x="2555776" y="4167840"/>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34"/>
          <p:cNvSpPr txBox="1"/>
          <p:nvPr/>
        </p:nvSpPr>
        <p:spPr>
          <a:xfrm>
            <a:off x="1192212" y="2565874"/>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TextBox 34"/>
          <p:cNvSpPr txBox="1"/>
          <p:nvPr/>
        </p:nvSpPr>
        <p:spPr>
          <a:xfrm>
            <a:off x="6185234" y="2173438"/>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TextBox 34"/>
          <p:cNvSpPr txBox="1"/>
          <p:nvPr/>
        </p:nvSpPr>
        <p:spPr>
          <a:xfrm>
            <a:off x="5193621" y="858008"/>
            <a:ext cx="1682506" cy="553994"/>
          </a:xfrm>
          <a:prstGeom prst="rect">
            <a:avLst/>
          </a:prstGeom>
          <a:noFill/>
        </p:spPr>
        <p:txBody>
          <a:bodyPr wrap="none" lIns="121917" tIns="60958" rIns="121917" bIns="60958" rtlCol="0">
            <a:spAutoFit/>
          </a:bodyPr>
          <a:lstStyle/>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a:p>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单击此处输入文本</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任意多边形 12"/>
          <p:cNvSpPr/>
          <p:nvPr/>
        </p:nvSpPr>
        <p:spPr>
          <a:xfrm>
            <a:off x="4020661" y="1135005"/>
            <a:ext cx="1136153" cy="1430869"/>
          </a:xfrm>
          <a:custGeom>
            <a:avLst/>
            <a:gdLst>
              <a:gd name="connsiteX0" fmla="*/ 1136153 w 1136153"/>
              <a:gd name="connsiteY0" fmla="*/ 0 h 1430869"/>
              <a:gd name="connsiteX1" fmla="*/ 1129983 w 1136153"/>
              <a:gd name="connsiteY1" fmla="*/ 86382 h 1430869"/>
              <a:gd name="connsiteX2" fmla="*/ 1117643 w 1136153"/>
              <a:gd name="connsiteY2" fmla="*/ 357868 h 1430869"/>
              <a:gd name="connsiteX3" fmla="*/ 1037431 w 1136153"/>
              <a:gd name="connsiteY3" fmla="*/ 629355 h 1430869"/>
              <a:gd name="connsiteX4" fmla="*/ 846157 w 1136153"/>
              <a:gd name="connsiteY4" fmla="*/ 851480 h 1430869"/>
              <a:gd name="connsiteX5" fmla="*/ 593181 w 1136153"/>
              <a:gd name="connsiteY5" fmla="*/ 1030414 h 1430869"/>
              <a:gd name="connsiteX6" fmla="*/ 321695 w 1136153"/>
              <a:gd name="connsiteY6" fmla="*/ 1258709 h 1430869"/>
              <a:gd name="connsiteX7" fmla="*/ 209090 w 1136153"/>
              <a:gd name="connsiteY7" fmla="*/ 1372471 h 1430869"/>
              <a:gd name="connsiteX8" fmla="*/ 159087 w 1136153"/>
              <a:gd name="connsiteY8" fmla="*/ 1430869 h 1430869"/>
              <a:gd name="connsiteX9" fmla="*/ 143715 w 1136153"/>
              <a:gd name="connsiteY9" fmla="*/ 1354609 h 1430869"/>
              <a:gd name="connsiteX10" fmla="*/ 116895 w 1136153"/>
              <a:gd name="connsiteY10" fmla="*/ 1179710 h 1430869"/>
              <a:gd name="connsiteX11" fmla="*/ 88421 w 1136153"/>
              <a:gd name="connsiteY11" fmla="*/ 871159 h 1430869"/>
              <a:gd name="connsiteX12" fmla="*/ 24385 w 1136153"/>
              <a:gd name="connsiteY12" fmla="*/ 657852 h 1430869"/>
              <a:gd name="connsiteX13" fmla="*/ 0 w 1136153"/>
              <a:gd name="connsiteY13" fmla="*/ 610560 h 1430869"/>
              <a:gd name="connsiteX14" fmla="*/ 27745 w 1136153"/>
              <a:gd name="connsiteY14" fmla="*/ 553240 h 1430869"/>
              <a:gd name="connsiteX15" fmla="*/ 259993 w 1136153"/>
              <a:gd name="connsiteY15" fmla="*/ 265316 h 1430869"/>
              <a:gd name="connsiteX16" fmla="*/ 679563 w 1136153"/>
              <a:gd name="connsiteY16" fmla="*/ 67872 h 1430869"/>
              <a:gd name="connsiteX17" fmla="*/ 1012750 w 1136153"/>
              <a:gd name="connsiteY17" fmla="*/ 12340 h 1430869"/>
              <a:gd name="connsiteX18" fmla="*/ 1136153 w 1136153"/>
              <a:gd name="connsiteY18" fmla="*/ 0 h 14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69">
                <a:moveTo>
                  <a:pt x="1136153" y="0"/>
                </a:moveTo>
                <a:cubicBezTo>
                  <a:pt x="1134096" y="28794"/>
                  <a:pt x="1133068" y="26737"/>
                  <a:pt x="1129983" y="86382"/>
                </a:cubicBezTo>
                <a:cubicBezTo>
                  <a:pt x="1126898" y="146027"/>
                  <a:pt x="1133068" y="267373"/>
                  <a:pt x="1117643" y="357868"/>
                </a:cubicBezTo>
                <a:cubicBezTo>
                  <a:pt x="1102217" y="448364"/>
                  <a:pt x="1082679" y="547086"/>
                  <a:pt x="1037431" y="629355"/>
                </a:cubicBezTo>
                <a:cubicBezTo>
                  <a:pt x="992183" y="711623"/>
                  <a:pt x="920198" y="784636"/>
                  <a:pt x="846157" y="851480"/>
                </a:cubicBezTo>
                <a:cubicBezTo>
                  <a:pt x="772115" y="918323"/>
                  <a:pt x="680591" y="962542"/>
                  <a:pt x="593181" y="1030414"/>
                </a:cubicBezTo>
                <a:cubicBezTo>
                  <a:pt x="505770" y="1098285"/>
                  <a:pt x="402935" y="1181582"/>
                  <a:pt x="321695" y="1258709"/>
                </a:cubicBezTo>
                <a:cubicBezTo>
                  <a:pt x="281075" y="1297272"/>
                  <a:pt x="244311" y="1334293"/>
                  <a:pt x="209090" y="1372471"/>
                </a:cubicBezTo>
                <a:lnTo>
                  <a:pt x="159087" y="1430869"/>
                </a:lnTo>
                <a:lnTo>
                  <a:pt x="143715" y="1354609"/>
                </a:lnTo>
                <a:cubicBezTo>
                  <a:pt x="133380" y="1294613"/>
                  <a:pt x="124432" y="1234528"/>
                  <a:pt x="116895" y="1179710"/>
                </a:cubicBezTo>
                <a:cubicBezTo>
                  <a:pt x="101821" y="1070075"/>
                  <a:pt x="109288" y="968703"/>
                  <a:pt x="88421" y="871159"/>
                </a:cubicBezTo>
                <a:cubicBezTo>
                  <a:pt x="72771" y="798002"/>
                  <a:pt x="53536" y="724111"/>
                  <a:pt x="24385" y="657852"/>
                </a:cubicBezTo>
                <a:lnTo>
                  <a:pt x="0" y="610560"/>
                </a:lnTo>
                <a:lnTo>
                  <a:pt x="27745" y="553240"/>
                </a:lnTo>
                <a:cubicBezTo>
                  <a:pt x="91278" y="439044"/>
                  <a:pt x="171298" y="340900"/>
                  <a:pt x="259993" y="265316"/>
                </a:cubicBezTo>
                <a:cubicBezTo>
                  <a:pt x="378254" y="164537"/>
                  <a:pt x="520167" y="113119"/>
                  <a:pt x="679563" y="67872"/>
                </a:cubicBezTo>
                <a:lnTo>
                  <a:pt x="1012750" y="12340"/>
                </a:lnTo>
                <a:cubicBezTo>
                  <a:pt x="1088849" y="1028"/>
                  <a:pt x="1112501" y="514"/>
                  <a:pt x="1136153" y="0"/>
                </a:cubicBezTo>
                <a:close/>
              </a:path>
            </a:pathLst>
          </a:custGeom>
          <a:solidFill>
            <a:schemeClr val="accent1"/>
          </a:solidFill>
          <a:ln w="38100" cap="flat" cmpd="sng" algn="ctr">
            <a:solidFill>
              <a:schemeClr val="bg1"/>
            </a:solidFill>
            <a:prstDash val="solid"/>
          </a:ln>
          <a:effectLst/>
        </p:spPr>
        <p:txBody>
          <a:bodyPr wrap="square" tIns="0" bIns="252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400" b="0" i="0" u="none" strike="noStrike" kern="0" cap="none" spc="0" normalizeH="0" baseline="0" noProof="0" dirty="0">
                <a:ln>
                  <a:noFill/>
                </a:ln>
                <a:solidFill>
                  <a:srgbClr val="FFFFFF"/>
                </a:solidFill>
                <a:effectLst/>
                <a:uLnTx/>
                <a:uFillTx/>
                <a:latin typeface="Stencil Std" panose="04020904080802020404" pitchFamily="82" charset="0"/>
              </a:rPr>
              <a:t>2</a:t>
            </a:r>
            <a:endParaRPr kumimoji="0" lang="zh-CN" altLang="en-US" sz="2400" b="0" i="0" u="none" strike="noStrike" kern="0" cap="none" spc="0" normalizeH="0" baseline="0" noProof="0" dirty="0">
              <a:ln>
                <a:noFill/>
              </a:ln>
              <a:solidFill>
                <a:srgbClr val="FFFFFF"/>
              </a:solidFill>
              <a:effectLst/>
              <a:uLnTx/>
              <a:uFillTx/>
              <a:latin typeface="Stencil Std" panose="04020904080802020404" pitchFamily="82" charset="0"/>
            </a:endParaRPr>
          </a:p>
        </p:txBody>
      </p:sp>
      <p:sp>
        <p:nvSpPr>
          <p:cNvPr id="14" name="任意多边形 13"/>
          <p:cNvSpPr/>
          <p:nvPr/>
        </p:nvSpPr>
        <p:spPr>
          <a:xfrm rot="18000000">
            <a:off x="3318974" y="1484130"/>
            <a:ext cx="1136153" cy="1430869"/>
          </a:xfrm>
          <a:custGeom>
            <a:avLst/>
            <a:gdLst>
              <a:gd name="connsiteX0" fmla="*/ 1136153 w 1136153"/>
              <a:gd name="connsiteY0" fmla="*/ 0 h 1430869"/>
              <a:gd name="connsiteX1" fmla="*/ 1129983 w 1136153"/>
              <a:gd name="connsiteY1" fmla="*/ 86382 h 1430869"/>
              <a:gd name="connsiteX2" fmla="*/ 1117643 w 1136153"/>
              <a:gd name="connsiteY2" fmla="*/ 357868 h 1430869"/>
              <a:gd name="connsiteX3" fmla="*/ 1037431 w 1136153"/>
              <a:gd name="connsiteY3" fmla="*/ 629354 h 1430869"/>
              <a:gd name="connsiteX4" fmla="*/ 846157 w 1136153"/>
              <a:gd name="connsiteY4" fmla="*/ 851479 h 1430869"/>
              <a:gd name="connsiteX5" fmla="*/ 593181 w 1136153"/>
              <a:gd name="connsiteY5" fmla="*/ 1030413 h 1430869"/>
              <a:gd name="connsiteX6" fmla="*/ 321694 w 1136153"/>
              <a:gd name="connsiteY6" fmla="*/ 1258709 h 1430869"/>
              <a:gd name="connsiteX7" fmla="*/ 209089 w 1136153"/>
              <a:gd name="connsiteY7" fmla="*/ 1372471 h 1430869"/>
              <a:gd name="connsiteX8" fmla="*/ 159087 w 1136153"/>
              <a:gd name="connsiteY8" fmla="*/ 1430869 h 1430869"/>
              <a:gd name="connsiteX9" fmla="*/ 143715 w 1136153"/>
              <a:gd name="connsiteY9" fmla="*/ 1354609 h 1430869"/>
              <a:gd name="connsiteX10" fmla="*/ 116895 w 1136153"/>
              <a:gd name="connsiteY10" fmla="*/ 1179710 h 1430869"/>
              <a:gd name="connsiteX11" fmla="*/ 88421 w 1136153"/>
              <a:gd name="connsiteY11" fmla="*/ 871159 h 1430869"/>
              <a:gd name="connsiteX12" fmla="*/ 24384 w 1136153"/>
              <a:gd name="connsiteY12" fmla="*/ 657852 h 1430869"/>
              <a:gd name="connsiteX13" fmla="*/ 0 w 1136153"/>
              <a:gd name="connsiteY13" fmla="*/ 610560 h 1430869"/>
              <a:gd name="connsiteX14" fmla="*/ 27745 w 1136153"/>
              <a:gd name="connsiteY14" fmla="*/ 553240 h 1430869"/>
              <a:gd name="connsiteX15" fmla="*/ 259993 w 1136153"/>
              <a:gd name="connsiteY15" fmla="*/ 265316 h 1430869"/>
              <a:gd name="connsiteX16" fmla="*/ 679563 w 1136153"/>
              <a:gd name="connsiteY16" fmla="*/ 67872 h 1430869"/>
              <a:gd name="connsiteX17" fmla="*/ 1012750 w 1136153"/>
              <a:gd name="connsiteY17" fmla="*/ 12340 h 1430869"/>
              <a:gd name="connsiteX18" fmla="*/ 1136153 w 1136153"/>
              <a:gd name="connsiteY18" fmla="*/ 0 h 14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69">
                <a:moveTo>
                  <a:pt x="1136153" y="0"/>
                </a:moveTo>
                <a:cubicBezTo>
                  <a:pt x="1134096" y="28794"/>
                  <a:pt x="1133068" y="26737"/>
                  <a:pt x="1129983" y="86382"/>
                </a:cubicBezTo>
                <a:cubicBezTo>
                  <a:pt x="1126898" y="146027"/>
                  <a:pt x="1133068" y="267373"/>
                  <a:pt x="1117643" y="357868"/>
                </a:cubicBezTo>
                <a:cubicBezTo>
                  <a:pt x="1102217" y="448364"/>
                  <a:pt x="1082679" y="547086"/>
                  <a:pt x="1037431" y="629354"/>
                </a:cubicBezTo>
                <a:cubicBezTo>
                  <a:pt x="992183" y="711623"/>
                  <a:pt x="920198" y="784636"/>
                  <a:pt x="846157" y="851479"/>
                </a:cubicBezTo>
                <a:cubicBezTo>
                  <a:pt x="772115" y="918323"/>
                  <a:pt x="680591" y="962542"/>
                  <a:pt x="593181" y="1030413"/>
                </a:cubicBezTo>
                <a:cubicBezTo>
                  <a:pt x="505770" y="1098285"/>
                  <a:pt x="402934" y="1181582"/>
                  <a:pt x="321694" y="1258709"/>
                </a:cubicBezTo>
                <a:cubicBezTo>
                  <a:pt x="281075" y="1297272"/>
                  <a:pt x="244311" y="1334293"/>
                  <a:pt x="209089" y="1372471"/>
                </a:cubicBezTo>
                <a:lnTo>
                  <a:pt x="159087" y="1430869"/>
                </a:lnTo>
                <a:lnTo>
                  <a:pt x="143715" y="1354609"/>
                </a:lnTo>
                <a:cubicBezTo>
                  <a:pt x="133380" y="1294613"/>
                  <a:pt x="124431" y="1234527"/>
                  <a:pt x="116895" y="1179710"/>
                </a:cubicBezTo>
                <a:cubicBezTo>
                  <a:pt x="101821" y="1070075"/>
                  <a:pt x="109288" y="968703"/>
                  <a:pt x="88421" y="871159"/>
                </a:cubicBezTo>
                <a:cubicBezTo>
                  <a:pt x="72771" y="798002"/>
                  <a:pt x="53536" y="724111"/>
                  <a:pt x="24384" y="657852"/>
                </a:cubicBezTo>
                <a:lnTo>
                  <a:pt x="0" y="610560"/>
                </a:lnTo>
                <a:lnTo>
                  <a:pt x="27745" y="553240"/>
                </a:lnTo>
                <a:cubicBezTo>
                  <a:pt x="91278" y="439044"/>
                  <a:pt x="171297" y="340900"/>
                  <a:pt x="259993" y="265316"/>
                </a:cubicBezTo>
                <a:cubicBezTo>
                  <a:pt x="378254" y="164537"/>
                  <a:pt x="520167" y="113119"/>
                  <a:pt x="679563" y="67872"/>
                </a:cubicBezTo>
                <a:lnTo>
                  <a:pt x="1012750" y="12340"/>
                </a:lnTo>
                <a:cubicBezTo>
                  <a:pt x="1088849" y="1028"/>
                  <a:pt x="1112501" y="514"/>
                  <a:pt x="1136153" y="0"/>
                </a:cubicBezTo>
                <a:close/>
              </a:path>
            </a:pathLst>
          </a:custGeom>
          <a:solidFill>
            <a:schemeClr val="accent1"/>
          </a:solidFill>
          <a:ln w="38100" cap="flat" cmpd="sng" algn="ctr">
            <a:solidFill>
              <a:schemeClr val="bg1"/>
            </a:solidFill>
            <a:prstDash val="solid"/>
          </a:ln>
          <a:effectLst/>
        </p:spPr>
        <p:txBody>
          <a:bodyPr wrap="square" tIns="0" bIns="252000" rtlCol="0" anchor="ctr">
            <a:noAutofit/>
          </a:bodyPr>
          <a:lstStyle/>
          <a:p>
            <a:pPr marL="0" marR="0" lvl="0" indent="0" algn="ctr" defTabSz="914400" eaLnBrk="1" fontAlgn="base" latinLnBrk="0" hangingPunct="1">
              <a:lnSpc>
                <a:spcPct val="100000"/>
              </a:lnSpc>
              <a:spcBef>
                <a:spcPct val="0"/>
              </a:spcBef>
              <a:spcAft>
                <a:spcPct val="0"/>
              </a:spcAft>
              <a:buClrTx/>
              <a:buSzTx/>
              <a:buFontTx/>
              <a:buNone/>
              <a:defRPr/>
            </a:pPr>
            <a:r>
              <a:rPr kumimoji="0" lang="en-US" altLang="zh-CN" sz="2400" b="0" i="0" u="none" strike="noStrike" kern="0" cap="none" spc="0" normalizeH="0" baseline="0" noProof="0" dirty="0">
                <a:ln>
                  <a:noFill/>
                </a:ln>
                <a:solidFill>
                  <a:srgbClr val="FFFFFF"/>
                </a:solidFill>
                <a:effectLst/>
                <a:uLnTx/>
                <a:uFillTx/>
                <a:latin typeface="Stencil Std" panose="04020904080802020404" pitchFamily="82" charset="0"/>
              </a:rPr>
              <a:t>1</a:t>
            </a:r>
            <a:endParaRPr kumimoji="0" lang="zh-CN" altLang="en-US" sz="2400" b="0" i="0" u="none" strike="noStrike" kern="0" cap="none" spc="0" normalizeH="0" baseline="0" noProof="0" dirty="0">
              <a:ln>
                <a:noFill/>
              </a:ln>
              <a:solidFill>
                <a:srgbClr val="FFFFFF"/>
              </a:solidFill>
              <a:effectLst/>
              <a:uLnTx/>
              <a:uFillTx/>
              <a:latin typeface="Stencil Std" panose="04020904080802020404" pitchFamily="82" charset="0"/>
            </a:endParaRPr>
          </a:p>
        </p:txBody>
      </p:sp>
      <p:sp>
        <p:nvSpPr>
          <p:cNvPr id="15" name="任意多边形 14"/>
          <p:cNvSpPr/>
          <p:nvPr/>
        </p:nvSpPr>
        <p:spPr>
          <a:xfrm rot="14400000">
            <a:off x="3210265" y="2253234"/>
            <a:ext cx="1136153" cy="1430870"/>
          </a:xfrm>
          <a:custGeom>
            <a:avLst/>
            <a:gdLst>
              <a:gd name="connsiteX0" fmla="*/ 1037431 w 1136153"/>
              <a:gd name="connsiteY0" fmla="*/ 629354 h 1430870"/>
              <a:gd name="connsiteX1" fmla="*/ 846156 w 1136153"/>
              <a:gd name="connsiteY1" fmla="*/ 851479 h 1430870"/>
              <a:gd name="connsiteX2" fmla="*/ 593181 w 1136153"/>
              <a:gd name="connsiteY2" fmla="*/ 1030414 h 1430870"/>
              <a:gd name="connsiteX3" fmla="*/ 321694 w 1136153"/>
              <a:gd name="connsiteY3" fmla="*/ 1258709 h 1430870"/>
              <a:gd name="connsiteX4" fmla="*/ 209089 w 1136153"/>
              <a:gd name="connsiteY4" fmla="*/ 1372471 h 1430870"/>
              <a:gd name="connsiteX5" fmla="*/ 159087 w 1136153"/>
              <a:gd name="connsiteY5" fmla="*/ 1430870 h 1430870"/>
              <a:gd name="connsiteX6" fmla="*/ 143715 w 1136153"/>
              <a:gd name="connsiteY6" fmla="*/ 1354609 h 1430870"/>
              <a:gd name="connsiteX7" fmla="*/ 116894 w 1136153"/>
              <a:gd name="connsiteY7" fmla="*/ 1179710 h 1430870"/>
              <a:gd name="connsiteX8" fmla="*/ 88421 w 1136153"/>
              <a:gd name="connsiteY8" fmla="*/ 871159 h 1430870"/>
              <a:gd name="connsiteX9" fmla="*/ 24384 w 1136153"/>
              <a:gd name="connsiteY9" fmla="*/ 657852 h 1430870"/>
              <a:gd name="connsiteX10" fmla="*/ 0 w 1136153"/>
              <a:gd name="connsiteY10" fmla="*/ 610560 h 1430870"/>
              <a:gd name="connsiteX11" fmla="*/ 27745 w 1136153"/>
              <a:gd name="connsiteY11" fmla="*/ 553240 h 1430870"/>
              <a:gd name="connsiteX12" fmla="*/ 259993 w 1136153"/>
              <a:gd name="connsiteY12" fmla="*/ 265316 h 1430870"/>
              <a:gd name="connsiteX13" fmla="*/ 679563 w 1136153"/>
              <a:gd name="connsiteY13" fmla="*/ 67872 h 1430870"/>
              <a:gd name="connsiteX14" fmla="*/ 1012750 w 1136153"/>
              <a:gd name="connsiteY14" fmla="*/ 12340 h 1430870"/>
              <a:gd name="connsiteX15" fmla="*/ 1136153 w 1136153"/>
              <a:gd name="connsiteY15" fmla="*/ 0 h 1430870"/>
              <a:gd name="connsiteX16" fmla="*/ 1129983 w 1136153"/>
              <a:gd name="connsiteY16" fmla="*/ 86382 h 1430870"/>
              <a:gd name="connsiteX17" fmla="*/ 1117643 w 1136153"/>
              <a:gd name="connsiteY17" fmla="*/ 357868 h 1430870"/>
              <a:gd name="connsiteX18" fmla="*/ 1037431 w 1136153"/>
              <a:gd name="connsiteY18" fmla="*/ 629354 h 1430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36153" h="1430870">
                <a:moveTo>
                  <a:pt x="1037431" y="629354"/>
                </a:moveTo>
                <a:cubicBezTo>
                  <a:pt x="992183" y="711623"/>
                  <a:pt x="920198" y="784636"/>
                  <a:pt x="846156" y="851479"/>
                </a:cubicBezTo>
                <a:cubicBezTo>
                  <a:pt x="772115" y="918323"/>
                  <a:pt x="680591" y="962542"/>
                  <a:pt x="593181" y="1030414"/>
                </a:cubicBezTo>
                <a:cubicBezTo>
                  <a:pt x="505770" y="1098285"/>
                  <a:pt x="402935" y="1181582"/>
                  <a:pt x="321694" y="1258709"/>
                </a:cubicBezTo>
                <a:cubicBezTo>
                  <a:pt x="281074" y="1297272"/>
                  <a:pt x="244310" y="1334293"/>
                  <a:pt x="209089" y="1372471"/>
                </a:cubicBezTo>
                <a:lnTo>
                  <a:pt x="159087" y="1430870"/>
                </a:lnTo>
                <a:lnTo>
                  <a:pt x="143715" y="1354609"/>
                </a:lnTo>
                <a:cubicBezTo>
                  <a:pt x="133379" y="1294613"/>
                  <a:pt x="124431" y="1234528"/>
                  <a:pt x="116894" y="1179710"/>
                </a:cubicBezTo>
                <a:cubicBezTo>
                  <a:pt x="101821" y="1070075"/>
                  <a:pt x="109288" y="968703"/>
                  <a:pt x="88421" y="871159"/>
                </a:cubicBezTo>
                <a:cubicBezTo>
                  <a:pt x="72771" y="798002"/>
                  <a:pt x="53536" y="724111"/>
                  <a:pt x="24384" y="657852"/>
                </a:cubicBezTo>
                <a:lnTo>
                  <a:pt x="0" y="610560"/>
                </a:lnTo>
                <a:lnTo>
                  <a:pt x="27745" y="553240"/>
                </a:lnTo>
                <a:cubicBezTo>
                  <a:pt x="91278" y="439044"/>
                  <a:pt x="171297" y="340900"/>
                  <a:pt x="259993" y="265316"/>
                </a:cubicBezTo>
                <a:cubicBezTo>
                  <a:pt x="378254" y="164537"/>
                  <a:pt x="520167" y="113119"/>
                  <a:pt x="679563" y="67872"/>
                </a:cubicBezTo>
                <a:lnTo>
                  <a:pt x="1012750" y="12340"/>
                </a:lnTo>
                <a:cubicBezTo>
                  <a:pt x="1088849" y="1028"/>
                  <a:pt x="1112501" y="514"/>
                  <a:pt x="1136153" y="0"/>
                </a:cubicBezTo>
                <a:cubicBezTo>
                  <a:pt x="1134096" y="28794"/>
                  <a:pt x="1133068" y="26737"/>
                  <a:pt x="1129983" y="86382"/>
                </a:cubicBezTo>
                <a:cubicBezTo>
                  <a:pt x="1126898" y="146027"/>
                  <a:pt x="1133068" y="267373"/>
                  <a:pt x="1117643" y="357868"/>
                </a:cubicBezTo>
                <a:cubicBezTo>
                  <a:pt x="1102217" y="448363"/>
                  <a:pt x="1082679" y="547086"/>
                  <a:pt x="1037431" y="629354"/>
                </a:cubicBezTo>
                <a:close/>
              </a:path>
            </a:pathLst>
          </a:custGeom>
          <a:solidFill>
            <a:schemeClr val="accent1"/>
          </a:solidFill>
          <a:ln w="38100" cap="flat" cmpd="sng" algn="ctr">
            <a:solidFill>
              <a:schemeClr val="bg1"/>
            </a:solidFill>
            <a:prstDash val="solid"/>
          </a:ln>
          <a:effectLst/>
        </p:spPr>
        <p:txBody>
          <a:bodyPr wrap="square" tIns="0" bIns="252000" rtlCol="0" anchor="ctr">
            <a:noAutofit/>
          </a:bodyPr>
          <a:lstStyle/>
          <a:p>
            <a:pPr algn="ctr" fontAlgn="base">
              <a:spcBef>
                <a:spcPct val="0"/>
              </a:spcBef>
              <a:spcAft>
                <a:spcPct val="0"/>
              </a:spcAft>
            </a:pPr>
            <a:r>
              <a:rPr lang="en-US" altLang="zh-CN" sz="2400" kern="0" dirty="0">
                <a:solidFill>
                  <a:srgbClr val="FFFFFF"/>
                </a:solidFill>
                <a:latin typeface="Stencil Std" panose="04020904080802020404" pitchFamily="82" charset="0"/>
              </a:rPr>
              <a:t>6</a:t>
            </a:r>
            <a:endParaRPr lang="zh-CN" altLang="en-US" sz="2400" kern="0" dirty="0">
              <a:solidFill>
                <a:srgbClr val="FFFFFF"/>
              </a:solidFill>
              <a:latin typeface="Stencil Std" panose="04020904080802020404" pitchFamily="82" charset="0"/>
            </a:endParaRPr>
          </a:p>
        </p:txBody>
      </p:sp>
    </p:spTree>
  </p:cSld>
  <p:clrMapOvr>
    <a:masterClrMapping/>
  </p:clrMapOvr>
  <p:transition spd="slow" advTm="2537">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2" presetClass="entr" presetSubtype="4" fill="hold" grpId="0" nodeType="withEffect">
                                  <p:stCondLst>
                                    <p:cond delay="500"/>
                                  </p:stCondLst>
                                  <p:childTnLst>
                                    <p:set>
                                      <p:cBhvr>
                                        <p:cTn id="9" dur="1" fill="hold">
                                          <p:stCondLst>
                                            <p:cond delay="0"/>
                                          </p:stCondLst>
                                        </p:cTn>
                                        <p:tgtEl>
                                          <p:spTgt spid="8"/>
                                        </p:tgtEl>
                                        <p:attrNameLst>
                                          <p:attrName>style.visibility</p:attrName>
                                        </p:attrNameLst>
                                      </p:cBhvr>
                                      <p:to>
                                        <p:strVal val="visible"/>
                                      </p:to>
                                    </p:set>
                                    <p:anim calcmode="lin" valueType="num">
                                      <p:cBhvr additive="base">
                                        <p:cTn id="10" dur="500"/>
                                        <p:tgtEl>
                                          <p:spTgt spid="8"/>
                                        </p:tgtEl>
                                        <p:attrNameLst>
                                          <p:attrName>ppt_y</p:attrName>
                                        </p:attrNameLst>
                                      </p:cBhvr>
                                      <p:tavLst>
                                        <p:tav tm="0">
                                          <p:val>
                                            <p:strVal val="#ppt_y+#ppt_h*1.125000"/>
                                          </p:val>
                                        </p:tav>
                                        <p:tav tm="100000">
                                          <p:val>
                                            <p:strVal val="#ppt_y"/>
                                          </p:val>
                                        </p:tav>
                                      </p:tavLst>
                                    </p:anim>
                                    <p:animEffect transition="in" filter="wipe(up)">
                                      <p:cBhvr>
                                        <p:cTn id="11" dur="500"/>
                                        <p:tgtEl>
                                          <p:spTgt spid="8"/>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2" presetClass="entr" presetSubtype="8" fill="hold" grpId="0" nodeType="withEffect">
                                  <p:stCondLst>
                                    <p:cond delay="70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p:tgtEl>
                                          <p:spTgt spid="12"/>
                                        </p:tgtEl>
                                        <p:attrNameLst>
                                          <p:attrName>ppt_x</p:attrName>
                                        </p:attrNameLst>
                                      </p:cBhvr>
                                      <p:tavLst>
                                        <p:tav tm="0">
                                          <p:val>
                                            <p:strVal val="#ppt_x-#ppt_w*1.125000"/>
                                          </p:val>
                                        </p:tav>
                                        <p:tav tm="100000">
                                          <p:val>
                                            <p:strVal val="#ppt_x"/>
                                          </p:val>
                                        </p:tav>
                                      </p:tavLst>
                                    </p:anim>
                                    <p:animEffect transition="in" filter="wipe(right)">
                                      <p:cBhvr>
                                        <p:cTn id="18" dur="500"/>
                                        <p:tgtEl>
                                          <p:spTgt spid="12"/>
                                        </p:tgtEl>
                                      </p:cBhvr>
                                    </p:animEffect>
                                  </p:childTnLst>
                                </p:cTn>
                              </p:par>
                              <p:par>
                                <p:cTn id="19" presetID="10" presetClass="entr" presetSubtype="0" fill="hold" grpId="0" nodeType="withEffect">
                                  <p:stCondLst>
                                    <p:cond delay="30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2" presetClass="entr" presetSubtype="8" fill="hold" grpId="0" nodeType="withEffect">
                                  <p:stCondLst>
                                    <p:cond delay="800"/>
                                  </p:stCondLst>
                                  <p:childTnLst>
                                    <p:set>
                                      <p:cBhvr>
                                        <p:cTn id="23" dur="1" fill="hold">
                                          <p:stCondLst>
                                            <p:cond delay="0"/>
                                          </p:stCondLst>
                                        </p:cTn>
                                        <p:tgtEl>
                                          <p:spTgt spid="11"/>
                                        </p:tgtEl>
                                        <p:attrNameLst>
                                          <p:attrName>style.visibility</p:attrName>
                                        </p:attrNameLst>
                                      </p:cBhvr>
                                      <p:to>
                                        <p:strVal val="visible"/>
                                      </p:to>
                                    </p:set>
                                    <p:anim calcmode="lin" valueType="num">
                                      <p:cBhvr additive="base">
                                        <p:cTn id="24" dur="500"/>
                                        <p:tgtEl>
                                          <p:spTgt spid="11"/>
                                        </p:tgtEl>
                                        <p:attrNameLst>
                                          <p:attrName>ppt_x</p:attrName>
                                        </p:attrNameLst>
                                      </p:cBhvr>
                                      <p:tavLst>
                                        <p:tav tm="0">
                                          <p:val>
                                            <p:strVal val="#ppt_x-#ppt_w*1.125000"/>
                                          </p:val>
                                        </p:tav>
                                        <p:tav tm="100000">
                                          <p:val>
                                            <p:strVal val="#ppt_x"/>
                                          </p:val>
                                        </p:tav>
                                      </p:tavLst>
                                    </p:anim>
                                    <p:animEffect transition="in" filter="wipe(right)">
                                      <p:cBhvr>
                                        <p:cTn id="25" dur="500"/>
                                        <p:tgtEl>
                                          <p:spTgt spid="11"/>
                                        </p:tgtEl>
                                      </p:cBhvr>
                                    </p:animEffect>
                                  </p:childTnLst>
                                </p:cTn>
                              </p:par>
                              <p:par>
                                <p:cTn id="26" presetID="10" presetClass="entr" presetSubtype="0" fill="hold" grpId="0"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500"/>
                                        <p:tgtEl>
                                          <p:spTgt spid="5"/>
                                        </p:tgtEl>
                                      </p:cBhvr>
                                    </p:animEffect>
                                  </p:childTnLst>
                                </p:cTn>
                              </p:par>
                              <p:par>
                                <p:cTn id="29" presetID="12" presetClass="entr" presetSubtype="1" fill="hold" grpId="0" nodeType="withEffect">
                                  <p:stCondLst>
                                    <p:cond delay="100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p:tgtEl>
                                          <p:spTgt spid="7"/>
                                        </p:tgtEl>
                                        <p:attrNameLst>
                                          <p:attrName>ppt_y</p:attrName>
                                        </p:attrNameLst>
                                      </p:cBhvr>
                                      <p:tavLst>
                                        <p:tav tm="0">
                                          <p:val>
                                            <p:strVal val="#ppt_y-#ppt_h*1.125000"/>
                                          </p:val>
                                        </p:tav>
                                        <p:tav tm="100000">
                                          <p:val>
                                            <p:strVal val="#ppt_y"/>
                                          </p:val>
                                        </p:tav>
                                      </p:tavLst>
                                    </p:anim>
                                    <p:animEffect transition="in" filter="wipe(down)">
                                      <p:cBhvr>
                                        <p:cTn id="32" dur="500"/>
                                        <p:tgtEl>
                                          <p:spTgt spid="7"/>
                                        </p:tgtEl>
                                      </p:cBhvr>
                                    </p:animEffect>
                                  </p:childTnLst>
                                </p:cTn>
                              </p:par>
                              <p:par>
                                <p:cTn id="33" presetID="10" presetClass="entr" presetSubtype="0" fill="hold" grpId="0" nodeType="withEffect">
                                  <p:stCondLst>
                                    <p:cond delay="70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2" presetClass="entr" presetSubtype="1" fill="hold" grpId="0" nodeType="withEffect">
                                  <p:stCondLst>
                                    <p:cond delay="1200"/>
                                  </p:stCondLst>
                                  <p:childTnLst>
                                    <p:set>
                                      <p:cBhvr>
                                        <p:cTn id="37" dur="1" fill="hold">
                                          <p:stCondLst>
                                            <p:cond delay="0"/>
                                          </p:stCondLst>
                                        </p:cTn>
                                        <p:tgtEl>
                                          <p:spTgt spid="9"/>
                                        </p:tgtEl>
                                        <p:attrNameLst>
                                          <p:attrName>style.visibility</p:attrName>
                                        </p:attrNameLst>
                                      </p:cBhvr>
                                      <p:to>
                                        <p:strVal val="visible"/>
                                      </p:to>
                                    </p:set>
                                    <p:anim calcmode="lin" valueType="num">
                                      <p:cBhvr additive="base">
                                        <p:cTn id="38" dur="500"/>
                                        <p:tgtEl>
                                          <p:spTgt spid="9"/>
                                        </p:tgtEl>
                                        <p:attrNameLst>
                                          <p:attrName>ppt_y</p:attrName>
                                        </p:attrNameLst>
                                      </p:cBhvr>
                                      <p:tavLst>
                                        <p:tav tm="0">
                                          <p:val>
                                            <p:strVal val="#ppt_y-#ppt_h*1.125000"/>
                                          </p:val>
                                        </p:tav>
                                        <p:tav tm="100000">
                                          <p:val>
                                            <p:strVal val="#ppt_y"/>
                                          </p:val>
                                        </p:tav>
                                      </p:tavLst>
                                    </p:anim>
                                    <p:animEffect transition="in" filter="wipe(down)">
                                      <p:cBhvr>
                                        <p:cTn id="39" dur="500"/>
                                        <p:tgtEl>
                                          <p:spTgt spid="9"/>
                                        </p:tgtEl>
                                      </p:cBhvr>
                                    </p:animEffect>
                                  </p:childTnLst>
                                </p:cTn>
                              </p:par>
                              <p:par>
                                <p:cTn id="40" presetID="10" presetClass="entr" presetSubtype="0" fill="hold" grpId="0" nodeType="withEffect">
                                  <p:stCondLst>
                                    <p:cond delay="9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2" presetClass="entr" presetSubtype="2" fill="hold" grpId="0" nodeType="withEffect">
                                  <p:stCondLst>
                                    <p:cond delay="1400"/>
                                  </p:stCondLst>
                                  <p:childTnLst>
                                    <p:set>
                                      <p:cBhvr>
                                        <p:cTn id="44" dur="1" fill="hold">
                                          <p:stCondLst>
                                            <p:cond delay="0"/>
                                          </p:stCondLst>
                                        </p:cTn>
                                        <p:tgtEl>
                                          <p:spTgt spid="10"/>
                                        </p:tgtEl>
                                        <p:attrNameLst>
                                          <p:attrName>style.visibility</p:attrName>
                                        </p:attrNameLst>
                                      </p:cBhvr>
                                      <p:to>
                                        <p:strVal val="visible"/>
                                      </p:to>
                                    </p:set>
                                    <p:anim calcmode="lin" valueType="num">
                                      <p:cBhvr additive="base">
                                        <p:cTn id="45" dur="500"/>
                                        <p:tgtEl>
                                          <p:spTgt spid="10"/>
                                        </p:tgtEl>
                                        <p:attrNameLst>
                                          <p:attrName>ppt_x</p:attrName>
                                        </p:attrNameLst>
                                      </p:cBhvr>
                                      <p:tavLst>
                                        <p:tav tm="0">
                                          <p:val>
                                            <p:strVal val="#ppt_x+#ppt_w*1.125000"/>
                                          </p:val>
                                        </p:tav>
                                        <p:tav tm="100000">
                                          <p:val>
                                            <p:strVal val="#ppt_x"/>
                                          </p:val>
                                        </p:tav>
                                      </p:tavLst>
                                    </p:anim>
                                    <p:animEffect transition="in" filter="wipe(left)">
                                      <p:cBhvr>
                                        <p:cTn id="4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p:bldP spid="8" grpId="0"/>
      <p:bldP spid="9" grpId="0"/>
      <p:bldP spid="10" grpId="0"/>
      <p:bldP spid="11" grpId="0"/>
      <p:bldP spid="12" grpId="0"/>
      <p:bldP spid="13" grpId="0" animBg="1"/>
      <p:bldP spid="14"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ABC\Desktop\16sucai_201402042026.png"/>
          <p:cNvPicPr>
            <a:picLocks noChangeAspect="1" noChangeArrowheads="1"/>
          </p:cNvPicPr>
          <p:nvPr/>
        </p:nvPicPr>
        <p:blipFill>
          <a:blip r:embed="rId3" cstate="screen"/>
          <a:srcRect/>
          <a:stretch>
            <a:fillRect/>
          </a:stretch>
        </p:blipFill>
        <p:spPr bwMode="auto">
          <a:xfrm>
            <a:off x="623975" y="915566"/>
            <a:ext cx="4176464" cy="276639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199360" y="1103950"/>
            <a:ext cx="1005403" cy="338554"/>
          </a:xfrm>
          <a:prstGeom prst="rect">
            <a:avLst/>
          </a:prstGeom>
          <a:noFill/>
        </p:spPr>
        <p:txBody>
          <a:bodyPr wrap="none" rtlCol="0">
            <a:spAutoFit/>
          </a:bodyPr>
          <a:lstStyle/>
          <a:p>
            <a:r>
              <a:rPr lang="zh-CN" altLang="en-US" sz="1600" dirty="0">
                <a:solidFill>
                  <a:srgbClr val="787878"/>
                </a:solidFill>
              </a:rPr>
              <a:t>经营产品</a:t>
            </a:r>
          </a:p>
        </p:txBody>
      </p:sp>
      <p:sp>
        <p:nvSpPr>
          <p:cNvPr id="9" name="矩形 8"/>
          <p:cNvSpPr/>
          <p:nvPr/>
        </p:nvSpPr>
        <p:spPr>
          <a:xfrm>
            <a:off x="5199360" y="1521717"/>
            <a:ext cx="825867" cy="246221"/>
          </a:xfrm>
          <a:prstGeom prst="rect">
            <a:avLst/>
          </a:prstGeom>
        </p:spPr>
        <p:txBody>
          <a:bodyPr wrap="none">
            <a:spAutoFit/>
          </a:bodyPr>
          <a:lstStyle/>
          <a:p>
            <a:r>
              <a:rPr lang="zh-CN" altLang="en-US" sz="1000" dirty="0">
                <a:solidFill>
                  <a:srgbClr val="787878"/>
                </a:solidFill>
              </a:rPr>
              <a:t>产品名称一</a:t>
            </a:r>
          </a:p>
        </p:txBody>
      </p:sp>
      <p:sp>
        <p:nvSpPr>
          <p:cNvPr id="11" name="圆角矩形 10"/>
          <p:cNvSpPr/>
          <p:nvPr/>
        </p:nvSpPr>
        <p:spPr>
          <a:xfrm>
            <a:off x="5199360" y="1774521"/>
            <a:ext cx="3166454" cy="133490"/>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12" name="圆角矩形 11"/>
          <p:cNvSpPr/>
          <p:nvPr/>
        </p:nvSpPr>
        <p:spPr>
          <a:xfrm>
            <a:off x="5199360" y="1774520"/>
            <a:ext cx="2086334" cy="1334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15" name="矩形 14"/>
          <p:cNvSpPr/>
          <p:nvPr/>
        </p:nvSpPr>
        <p:spPr>
          <a:xfrm>
            <a:off x="5199360" y="2023144"/>
            <a:ext cx="825867" cy="246221"/>
          </a:xfrm>
          <a:prstGeom prst="rect">
            <a:avLst/>
          </a:prstGeom>
        </p:spPr>
        <p:txBody>
          <a:bodyPr wrap="none">
            <a:spAutoFit/>
          </a:bodyPr>
          <a:lstStyle/>
          <a:p>
            <a:r>
              <a:rPr lang="zh-CN" altLang="en-US" sz="1000" dirty="0">
                <a:solidFill>
                  <a:srgbClr val="787878"/>
                </a:solidFill>
              </a:rPr>
              <a:t>产品名称二</a:t>
            </a:r>
          </a:p>
        </p:txBody>
      </p:sp>
      <p:sp>
        <p:nvSpPr>
          <p:cNvPr id="17" name="圆角矩形 16"/>
          <p:cNvSpPr/>
          <p:nvPr/>
        </p:nvSpPr>
        <p:spPr>
          <a:xfrm>
            <a:off x="5199360" y="2279891"/>
            <a:ext cx="3166454" cy="133490"/>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18" name="圆角矩形 17"/>
          <p:cNvSpPr/>
          <p:nvPr/>
        </p:nvSpPr>
        <p:spPr>
          <a:xfrm>
            <a:off x="5199360" y="2279890"/>
            <a:ext cx="2540992" cy="1334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20" name="矩形 19"/>
          <p:cNvSpPr/>
          <p:nvPr/>
        </p:nvSpPr>
        <p:spPr>
          <a:xfrm>
            <a:off x="5199360" y="2528514"/>
            <a:ext cx="825867" cy="246221"/>
          </a:xfrm>
          <a:prstGeom prst="rect">
            <a:avLst/>
          </a:prstGeom>
        </p:spPr>
        <p:txBody>
          <a:bodyPr wrap="none">
            <a:spAutoFit/>
          </a:bodyPr>
          <a:lstStyle/>
          <a:p>
            <a:r>
              <a:rPr lang="zh-CN" altLang="en-US" sz="1000" dirty="0">
                <a:solidFill>
                  <a:srgbClr val="787878"/>
                </a:solidFill>
              </a:rPr>
              <a:t>产品名称三</a:t>
            </a:r>
          </a:p>
        </p:txBody>
      </p:sp>
      <p:sp>
        <p:nvSpPr>
          <p:cNvPr id="22" name="圆角矩形 21"/>
          <p:cNvSpPr/>
          <p:nvPr/>
        </p:nvSpPr>
        <p:spPr>
          <a:xfrm>
            <a:off x="5199360" y="2785261"/>
            <a:ext cx="3166454" cy="133490"/>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23" name="圆角矩形 22"/>
          <p:cNvSpPr/>
          <p:nvPr/>
        </p:nvSpPr>
        <p:spPr>
          <a:xfrm>
            <a:off x="5199360" y="2785260"/>
            <a:ext cx="1748904" cy="1334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25" name="矩形 24"/>
          <p:cNvSpPr/>
          <p:nvPr/>
        </p:nvSpPr>
        <p:spPr>
          <a:xfrm>
            <a:off x="5199360" y="3033885"/>
            <a:ext cx="825867" cy="246221"/>
          </a:xfrm>
          <a:prstGeom prst="rect">
            <a:avLst/>
          </a:prstGeom>
        </p:spPr>
        <p:txBody>
          <a:bodyPr wrap="none">
            <a:spAutoFit/>
          </a:bodyPr>
          <a:lstStyle/>
          <a:p>
            <a:r>
              <a:rPr lang="zh-CN" altLang="en-US" sz="1000" dirty="0">
                <a:solidFill>
                  <a:srgbClr val="787878"/>
                </a:solidFill>
              </a:rPr>
              <a:t>产品名称四</a:t>
            </a:r>
          </a:p>
        </p:txBody>
      </p:sp>
      <p:sp>
        <p:nvSpPr>
          <p:cNvPr id="27" name="圆角矩形 26"/>
          <p:cNvSpPr/>
          <p:nvPr/>
        </p:nvSpPr>
        <p:spPr>
          <a:xfrm>
            <a:off x="5199360" y="3290632"/>
            <a:ext cx="3166454" cy="133490"/>
          </a:xfrm>
          <a:prstGeom prst="roundRect">
            <a:avLst>
              <a:gd name="adj" fmla="val 5000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28" name="圆角矩形 27"/>
          <p:cNvSpPr/>
          <p:nvPr/>
        </p:nvSpPr>
        <p:spPr>
          <a:xfrm>
            <a:off x="5199360" y="3290631"/>
            <a:ext cx="2901032" cy="133490"/>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pic>
        <p:nvPicPr>
          <p:cNvPr id="29" name="Picture 2" descr="C:\Users\ABC\Desktop\图片2.jpg"/>
          <p:cNvPicPr>
            <a:picLocks noChangeAspect="1" noChangeArrowheads="1"/>
          </p:cNvPicPr>
          <p:nvPr/>
        </p:nvPicPr>
        <p:blipFill>
          <a:blip r:embed="rId4">
            <a:grayscl/>
          </a:blip>
          <a:srcRect/>
          <a:stretch>
            <a:fillRect/>
          </a:stretch>
        </p:blipFill>
        <p:spPr bwMode="auto">
          <a:xfrm>
            <a:off x="1204687" y="1306892"/>
            <a:ext cx="2931884" cy="1850103"/>
          </a:xfrm>
          <a:prstGeom prst="rect">
            <a:avLst/>
          </a:prstGeom>
          <a:noFill/>
          <a:extLst>
            <a:ext uri="{909E8E84-426E-40DD-AFC4-6F175D3DCCD1}">
              <a14:hiddenFill xmlns:a14="http://schemas.microsoft.com/office/drawing/2010/main">
                <a:solidFill>
                  <a:srgbClr val="FFFFFF"/>
                </a:solidFill>
              </a14:hiddenFill>
            </a:ext>
          </a:extLst>
        </p:spPr>
      </p:pic>
      <p:sp>
        <p:nvSpPr>
          <p:cNvPr id="3" name="标题 2"/>
          <p:cNvSpPr>
            <a:spLocks noGrp="1"/>
          </p:cNvSpPr>
          <p:nvPr>
            <p:ph type="title"/>
          </p:nvPr>
        </p:nvSpPr>
        <p:spPr/>
        <p:txBody>
          <a:bodyPr/>
          <a:lstStyle/>
          <a:p>
            <a:r>
              <a:rPr lang="zh-CN" altLang="en-US" dirty="0"/>
              <a:t>关于我们</a:t>
            </a:r>
          </a:p>
        </p:txBody>
      </p:sp>
    </p:spTree>
  </p:cSld>
  <p:clrMapOvr>
    <a:masterClrMapping/>
  </p:clrMapOvr>
  <mc:AlternateContent xmlns:mc="http://schemas.openxmlformats.org/markup-compatibility/2006" xmlns:p14="http://schemas.microsoft.com/office/powerpoint/2010/main">
    <mc:Choice Requires="p14">
      <p:transition spd="med" p14:dur="700" advTm="4632">
        <p:fade/>
      </p:transition>
    </mc:Choice>
    <mc:Fallback xmlns="">
      <p:transition spd="med" advTm="4632">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nodeType="after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fade">
                                      <p:cBhvr>
                                        <p:cTn id="27" dur="500"/>
                                        <p:tgtEl>
                                          <p:spTgt spid="22"/>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fade">
                                      <p:cBhvr>
                                        <p:cTn id="36" dur="500"/>
                                        <p:tgtEl>
                                          <p:spTgt spid="2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1000"/>
                            </p:stCondLst>
                            <p:childTnLst>
                              <p:par>
                                <p:cTn id="41" presetID="22" presetClass="entr" presetSubtype="8" fill="hold" grpId="0" nodeType="after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wipe(left)">
                                      <p:cBhvr>
                                        <p:cTn id="43" dur="500"/>
                                        <p:tgtEl>
                                          <p:spTgt spid="12"/>
                                        </p:tgtEl>
                                      </p:cBhvr>
                                    </p:animEffect>
                                  </p:childTnLst>
                                </p:cTn>
                              </p:par>
                              <p:par>
                                <p:cTn id="44" presetID="22" presetClass="entr" presetSubtype="8" fill="hold" grpId="0" nodeType="withEffect">
                                  <p:stCondLst>
                                    <p:cond delay="300"/>
                                  </p:stCondLst>
                                  <p:childTnLst>
                                    <p:set>
                                      <p:cBhvr>
                                        <p:cTn id="45" dur="1" fill="hold">
                                          <p:stCondLst>
                                            <p:cond delay="0"/>
                                          </p:stCondLst>
                                        </p:cTn>
                                        <p:tgtEl>
                                          <p:spTgt spid="18"/>
                                        </p:tgtEl>
                                        <p:attrNameLst>
                                          <p:attrName>style.visibility</p:attrName>
                                        </p:attrNameLst>
                                      </p:cBhvr>
                                      <p:to>
                                        <p:strVal val="visible"/>
                                      </p:to>
                                    </p:set>
                                    <p:animEffect transition="in" filter="wipe(left)">
                                      <p:cBhvr>
                                        <p:cTn id="46" dur="500"/>
                                        <p:tgtEl>
                                          <p:spTgt spid="18"/>
                                        </p:tgtEl>
                                      </p:cBhvr>
                                    </p:animEffect>
                                  </p:childTnLst>
                                </p:cTn>
                              </p:par>
                              <p:par>
                                <p:cTn id="47" presetID="22" presetClass="entr" presetSubtype="8" fill="hold" grpId="0" nodeType="withEffect">
                                  <p:stCondLst>
                                    <p:cond delay="500"/>
                                  </p:stCondLst>
                                  <p:childTnLst>
                                    <p:set>
                                      <p:cBhvr>
                                        <p:cTn id="48" dur="1" fill="hold">
                                          <p:stCondLst>
                                            <p:cond delay="0"/>
                                          </p:stCondLst>
                                        </p:cTn>
                                        <p:tgtEl>
                                          <p:spTgt spid="23"/>
                                        </p:tgtEl>
                                        <p:attrNameLst>
                                          <p:attrName>style.visibility</p:attrName>
                                        </p:attrNameLst>
                                      </p:cBhvr>
                                      <p:to>
                                        <p:strVal val="visible"/>
                                      </p:to>
                                    </p:set>
                                    <p:animEffect transition="in" filter="wipe(left)">
                                      <p:cBhvr>
                                        <p:cTn id="49" dur="500"/>
                                        <p:tgtEl>
                                          <p:spTgt spid="23"/>
                                        </p:tgtEl>
                                      </p:cBhvr>
                                    </p:animEffect>
                                  </p:childTnLst>
                                </p:cTn>
                              </p:par>
                              <p:par>
                                <p:cTn id="50" presetID="22" presetClass="entr" presetSubtype="8" fill="hold" grpId="0" nodeType="withEffect">
                                  <p:stCondLst>
                                    <p:cond delay="700"/>
                                  </p:stCondLst>
                                  <p:childTnLst>
                                    <p:set>
                                      <p:cBhvr>
                                        <p:cTn id="51" dur="1" fill="hold">
                                          <p:stCondLst>
                                            <p:cond delay="0"/>
                                          </p:stCondLst>
                                        </p:cTn>
                                        <p:tgtEl>
                                          <p:spTgt spid="28"/>
                                        </p:tgtEl>
                                        <p:attrNameLst>
                                          <p:attrName>style.visibility</p:attrName>
                                        </p:attrNameLst>
                                      </p:cBhvr>
                                      <p:to>
                                        <p:strVal val="visible"/>
                                      </p:to>
                                    </p:set>
                                    <p:animEffect transition="in" filter="wipe(left)">
                                      <p:cBhvr>
                                        <p:cTn id="52"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1" grpId="0" animBg="1"/>
      <p:bldP spid="12" grpId="0" animBg="1"/>
      <p:bldP spid="15" grpId="0"/>
      <p:bldP spid="17" grpId="0" animBg="1"/>
      <p:bldP spid="18" grpId="0" animBg="1"/>
      <p:bldP spid="20" grpId="0"/>
      <p:bldP spid="22" grpId="0" animBg="1"/>
      <p:bldP spid="23" grpId="0" animBg="1"/>
      <p:bldP spid="25" grpId="0"/>
      <p:bldP spid="27" grpId="0" animBg="1"/>
      <p:bldP spid="28"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p:cNvSpPr>
            <a:spLocks noGrp="1"/>
          </p:cNvSpPr>
          <p:nvPr>
            <p:ph type="title"/>
          </p:nvPr>
        </p:nvSpPr>
        <p:spPr>
          <a:prstGeom prst="rect">
            <a:avLst/>
          </a:prstGeom>
        </p:spPr>
        <p:txBody>
          <a:bodyPr/>
          <a:lstStyle/>
          <a:p>
            <a:r>
              <a:rPr lang="zh-CN" altLang="en-US" dirty="0"/>
              <a:t>单击添加标题</a:t>
            </a:r>
          </a:p>
        </p:txBody>
      </p:sp>
      <p:grpSp>
        <p:nvGrpSpPr>
          <p:cNvPr id="4" name="组合 3"/>
          <p:cNvGrpSpPr/>
          <p:nvPr/>
        </p:nvGrpSpPr>
        <p:grpSpPr>
          <a:xfrm flipH="1">
            <a:off x="1954047" y="1816814"/>
            <a:ext cx="5265326" cy="606400"/>
            <a:chOff x="1496703" y="3093452"/>
            <a:chExt cx="5897723" cy="679232"/>
          </a:xfrm>
          <a:noFill/>
        </p:grpSpPr>
        <p:sp>
          <p:nvSpPr>
            <p:cNvPr id="5" name="圆角矩形 2"/>
            <p:cNvSpPr/>
            <p:nvPr/>
          </p:nvSpPr>
          <p:spPr>
            <a:xfrm>
              <a:off x="1496703" y="3093452"/>
              <a:ext cx="5433857" cy="679232"/>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6" name="圆角矩形 2"/>
            <p:cNvSpPr/>
            <p:nvPr/>
          </p:nvSpPr>
          <p:spPr>
            <a:xfrm>
              <a:off x="2755767" y="3317928"/>
              <a:ext cx="4174793"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7" name="圆角矩形 2"/>
            <p:cNvSpPr/>
            <p:nvPr/>
          </p:nvSpPr>
          <p:spPr>
            <a:xfrm>
              <a:off x="4081098" y="3317928"/>
              <a:ext cx="3313328"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8" name="圆角矩形 2"/>
            <p:cNvSpPr/>
            <p:nvPr/>
          </p:nvSpPr>
          <p:spPr>
            <a:xfrm>
              <a:off x="5472696" y="3317928"/>
              <a:ext cx="1590397"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grpSp>
      <p:grpSp>
        <p:nvGrpSpPr>
          <p:cNvPr id="10" name="组合 9"/>
          <p:cNvGrpSpPr/>
          <p:nvPr/>
        </p:nvGrpSpPr>
        <p:grpSpPr>
          <a:xfrm flipH="1">
            <a:off x="1944043" y="2600697"/>
            <a:ext cx="5265326" cy="606400"/>
            <a:chOff x="1507909" y="3971483"/>
            <a:chExt cx="5897723" cy="679232"/>
          </a:xfrm>
          <a:noFill/>
        </p:grpSpPr>
        <p:sp>
          <p:nvSpPr>
            <p:cNvPr id="11" name="圆角矩形 2"/>
            <p:cNvSpPr/>
            <p:nvPr/>
          </p:nvSpPr>
          <p:spPr>
            <a:xfrm flipV="1">
              <a:off x="1507909" y="3971483"/>
              <a:ext cx="5433857" cy="679232"/>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12" name="圆角矩形 2"/>
            <p:cNvSpPr/>
            <p:nvPr/>
          </p:nvSpPr>
          <p:spPr>
            <a:xfrm flipV="1">
              <a:off x="2766973" y="3971484"/>
              <a:ext cx="4174793"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13" name="圆角矩形 2"/>
            <p:cNvSpPr/>
            <p:nvPr/>
          </p:nvSpPr>
          <p:spPr>
            <a:xfrm flipV="1">
              <a:off x="4092304" y="3971484"/>
              <a:ext cx="3313328"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sp>
          <p:nvSpPr>
            <p:cNvPr id="14" name="圆角矩形 2"/>
            <p:cNvSpPr/>
            <p:nvPr/>
          </p:nvSpPr>
          <p:spPr>
            <a:xfrm flipV="1">
              <a:off x="5483902" y="3971484"/>
              <a:ext cx="1590397" cy="454754"/>
            </a:xfrm>
            <a:custGeom>
              <a:avLst/>
              <a:gdLst>
                <a:gd name="connsiteX0" fmla="*/ 6306410 w 6397850"/>
                <a:gd name="connsiteY0" fmla="*/ 0 h 720080"/>
                <a:gd name="connsiteX1" fmla="*/ 6306410 w 6397850"/>
                <a:gd name="connsiteY1" fmla="*/ 720080 h 720080"/>
                <a:gd name="connsiteX2" fmla="*/ 720080 w 6397850"/>
                <a:gd name="connsiteY2" fmla="*/ 720080 h 720080"/>
                <a:gd name="connsiteX3" fmla="*/ 0 w 6397850"/>
                <a:gd name="connsiteY3" fmla="*/ 0 h 720080"/>
                <a:gd name="connsiteX4" fmla="*/ 6397850 w 6397850"/>
                <a:gd name="connsiteY4" fmla="*/ 91440 h 720080"/>
                <a:gd name="connsiteX0-1" fmla="*/ 6306410 w 6306410"/>
                <a:gd name="connsiteY0-2" fmla="*/ 0 h 720080"/>
                <a:gd name="connsiteX1-3" fmla="*/ 6306410 w 6306410"/>
                <a:gd name="connsiteY1-4" fmla="*/ 720080 h 720080"/>
                <a:gd name="connsiteX2-5" fmla="*/ 720080 w 6306410"/>
                <a:gd name="connsiteY2-6" fmla="*/ 720080 h 720080"/>
                <a:gd name="connsiteX3-7" fmla="*/ 0 w 6306410"/>
                <a:gd name="connsiteY3-8" fmla="*/ 0 h 720080"/>
                <a:gd name="connsiteX0-9" fmla="*/ 6306410 w 6306410"/>
                <a:gd name="connsiteY0-10" fmla="*/ 720080 h 720080"/>
                <a:gd name="connsiteX1-11" fmla="*/ 720080 w 6306410"/>
                <a:gd name="connsiteY1-12" fmla="*/ 720080 h 720080"/>
                <a:gd name="connsiteX2-13" fmla="*/ 0 w 6306410"/>
                <a:gd name="connsiteY2-14" fmla="*/ 0 h 720080"/>
              </a:gdLst>
              <a:ahLst/>
              <a:cxnLst>
                <a:cxn ang="0">
                  <a:pos x="connsiteX0-1" y="connsiteY0-2"/>
                </a:cxn>
                <a:cxn ang="0">
                  <a:pos x="connsiteX1-3" y="connsiteY1-4"/>
                </a:cxn>
                <a:cxn ang="0">
                  <a:pos x="connsiteX2-5" y="connsiteY2-6"/>
                </a:cxn>
              </a:cxnLst>
              <a:rect l="l" t="t" r="r" b="b"/>
              <a:pathLst>
                <a:path w="6306410" h="720080">
                  <a:moveTo>
                    <a:pt x="6306410" y="720080"/>
                  </a:moveTo>
                  <a:lnTo>
                    <a:pt x="720080" y="720080"/>
                  </a:lnTo>
                  <a:cubicBezTo>
                    <a:pt x="322391" y="720080"/>
                    <a:pt x="0" y="397689"/>
                    <a:pt x="0" y="0"/>
                  </a:cubicBezTo>
                </a:path>
              </a:pathLst>
            </a:custGeom>
            <a:grpFill/>
            <a:ln w="25400" cap="flat" cmpd="sng" algn="ctr">
              <a:solidFill>
                <a:schemeClr val="bg1">
                  <a:lumMod val="65000"/>
                </a:schemeClr>
              </a:solidFill>
              <a:prstDash val="solid"/>
              <a:headEnd type="oval" w="med" len="med"/>
              <a:tailEnd type="oval" w="med" len="med"/>
            </a:ln>
            <a:effectLst/>
          </p:spPr>
          <p:txBody>
            <a:bodyPr rtlCol="0" anchor="ctr"/>
            <a:lstStyle/>
            <a:p>
              <a:pPr algn="ctr">
                <a:defRPr/>
              </a:pPr>
              <a:endParaRPr lang="en-US" kern="0">
                <a:solidFill>
                  <a:srgbClr val="EDD7CB"/>
                </a:solidFill>
                <a:latin typeface="Calibri" panose="020F0502020204030204"/>
              </a:endParaRPr>
            </a:p>
          </p:txBody>
        </p:sp>
      </p:grpSp>
      <p:sp>
        <p:nvSpPr>
          <p:cNvPr id="15" name="椭圆 14"/>
          <p:cNvSpPr/>
          <p:nvPr/>
        </p:nvSpPr>
        <p:spPr>
          <a:xfrm flipH="1">
            <a:off x="1066631" y="1713284"/>
            <a:ext cx="1419863" cy="1419863"/>
          </a:xfrm>
          <a:prstGeom prst="ellipse">
            <a:avLst/>
          </a:prstGeom>
          <a:solidFill>
            <a:schemeClr val="accent1"/>
          </a:solidFill>
          <a:ln w="25400" cap="flat" cmpd="sng" algn="ctr">
            <a:noFill/>
            <a:prstDash val="solid"/>
          </a:ln>
          <a:effectLst/>
        </p:spPr>
        <p:txBody>
          <a:bodyPr rtlCol="0" anchor="ctr"/>
          <a:lstStyle/>
          <a:p>
            <a:pPr algn="ctr">
              <a:defRPr/>
            </a:pPr>
            <a:r>
              <a:rPr lang="zh-CN" altLang="en-US" sz="3200" kern="0" dirty="0">
                <a:solidFill>
                  <a:schemeClr val="bg1"/>
                </a:solidFill>
                <a:latin typeface="Arial" panose="020B0604020202020204" pitchFamily="34" charset="0"/>
                <a:ea typeface="微软雅黑" panose="020B0503020204020204" pitchFamily="34" charset="-122"/>
                <a:sym typeface="Arial" panose="020B0604020202020204" pitchFamily="34" charset="0"/>
              </a:rPr>
              <a:t>标题</a:t>
            </a:r>
            <a:endParaRPr lang="en-US" sz="3200" kern="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33" name="组合 32"/>
          <p:cNvGrpSpPr/>
          <p:nvPr/>
        </p:nvGrpSpPr>
        <p:grpSpPr>
          <a:xfrm>
            <a:off x="5562867" y="1179169"/>
            <a:ext cx="1118668" cy="702721"/>
            <a:chOff x="5732535" y="1467201"/>
            <a:chExt cx="1118668" cy="702721"/>
          </a:xfrm>
          <a:solidFill>
            <a:srgbClr val="01B0F1"/>
          </a:solidFill>
        </p:grpSpPr>
        <p:sp>
          <p:nvSpPr>
            <p:cNvPr id="9" name="椭圆 8"/>
            <p:cNvSpPr/>
            <p:nvPr/>
          </p:nvSpPr>
          <p:spPr>
            <a:xfrm flipH="1">
              <a:off x="6163307" y="1912803"/>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TextBox 20"/>
            <p:cNvSpPr txBox="1"/>
            <p:nvPr/>
          </p:nvSpPr>
          <p:spPr>
            <a:xfrm flipH="1">
              <a:off x="5732535" y="1467201"/>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2" name="组合 31"/>
          <p:cNvGrpSpPr/>
          <p:nvPr/>
        </p:nvGrpSpPr>
        <p:grpSpPr>
          <a:xfrm>
            <a:off x="4371144" y="1179169"/>
            <a:ext cx="1118668" cy="702721"/>
            <a:chOff x="4540812" y="1467201"/>
            <a:chExt cx="1118668" cy="702721"/>
          </a:xfrm>
          <a:solidFill>
            <a:srgbClr val="01B0F1"/>
          </a:solidFill>
        </p:grpSpPr>
        <p:sp>
          <p:nvSpPr>
            <p:cNvPr id="16" name="椭圆 15"/>
            <p:cNvSpPr/>
            <p:nvPr/>
          </p:nvSpPr>
          <p:spPr>
            <a:xfrm flipH="1">
              <a:off x="4971584" y="1912803"/>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TextBox 21"/>
            <p:cNvSpPr txBox="1"/>
            <p:nvPr/>
          </p:nvSpPr>
          <p:spPr>
            <a:xfrm flipH="1">
              <a:off x="4540812" y="1467201"/>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1" name="组合 30"/>
          <p:cNvGrpSpPr/>
          <p:nvPr/>
        </p:nvGrpSpPr>
        <p:grpSpPr>
          <a:xfrm>
            <a:off x="3178257" y="1179169"/>
            <a:ext cx="1118668" cy="702721"/>
            <a:chOff x="3347925" y="1467201"/>
            <a:chExt cx="1118668" cy="702721"/>
          </a:xfrm>
          <a:solidFill>
            <a:srgbClr val="01B0F1"/>
          </a:solidFill>
        </p:grpSpPr>
        <p:sp>
          <p:nvSpPr>
            <p:cNvPr id="17" name="椭圆 16"/>
            <p:cNvSpPr/>
            <p:nvPr/>
          </p:nvSpPr>
          <p:spPr>
            <a:xfrm flipH="1">
              <a:off x="3778697" y="1912803"/>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3" name="TextBox 22"/>
            <p:cNvSpPr txBox="1"/>
            <p:nvPr/>
          </p:nvSpPr>
          <p:spPr>
            <a:xfrm flipH="1">
              <a:off x="3347925" y="1467201"/>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7" name="组合 36"/>
          <p:cNvGrpSpPr/>
          <p:nvPr/>
        </p:nvGrpSpPr>
        <p:grpSpPr>
          <a:xfrm>
            <a:off x="5562867" y="3120843"/>
            <a:ext cx="1118668" cy="716684"/>
            <a:chOff x="5732535" y="3408875"/>
            <a:chExt cx="1118668" cy="716684"/>
          </a:xfrm>
          <a:solidFill>
            <a:srgbClr val="01B0F1"/>
          </a:solidFill>
        </p:grpSpPr>
        <p:sp>
          <p:nvSpPr>
            <p:cNvPr id="18" name="椭圆 17"/>
            <p:cNvSpPr/>
            <p:nvPr/>
          </p:nvSpPr>
          <p:spPr>
            <a:xfrm flipH="1">
              <a:off x="6163307" y="3408875"/>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TextBox 23"/>
            <p:cNvSpPr txBox="1"/>
            <p:nvPr/>
          </p:nvSpPr>
          <p:spPr>
            <a:xfrm flipH="1">
              <a:off x="5732535" y="3836249"/>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8" name="组合 37"/>
          <p:cNvGrpSpPr/>
          <p:nvPr/>
        </p:nvGrpSpPr>
        <p:grpSpPr>
          <a:xfrm>
            <a:off x="4371144" y="3120843"/>
            <a:ext cx="1118668" cy="716684"/>
            <a:chOff x="4540812" y="3408875"/>
            <a:chExt cx="1118668" cy="716684"/>
          </a:xfrm>
          <a:solidFill>
            <a:srgbClr val="01B0F1"/>
          </a:solidFill>
        </p:grpSpPr>
        <p:sp>
          <p:nvSpPr>
            <p:cNvPr id="19" name="椭圆 18"/>
            <p:cNvSpPr/>
            <p:nvPr/>
          </p:nvSpPr>
          <p:spPr>
            <a:xfrm flipH="1">
              <a:off x="4971584" y="3408875"/>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TextBox 24"/>
            <p:cNvSpPr txBox="1"/>
            <p:nvPr/>
          </p:nvSpPr>
          <p:spPr>
            <a:xfrm flipH="1">
              <a:off x="4540812" y="3836249"/>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9" name="组合 38"/>
          <p:cNvGrpSpPr/>
          <p:nvPr/>
        </p:nvGrpSpPr>
        <p:grpSpPr>
          <a:xfrm>
            <a:off x="3178257" y="3120843"/>
            <a:ext cx="1118668" cy="716684"/>
            <a:chOff x="3347925" y="3408875"/>
            <a:chExt cx="1118668" cy="716684"/>
          </a:xfrm>
          <a:solidFill>
            <a:srgbClr val="01B0F1"/>
          </a:solidFill>
        </p:grpSpPr>
        <p:sp>
          <p:nvSpPr>
            <p:cNvPr id="20" name="椭圆 19"/>
            <p:cNvSpPr/>
            <p:nvPr/>
          </p:nvSpPr>
          <p:spPr>
            <a:xfrm flipH="1">
              <a:off x="3778697" y="3408875"/>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6" name="TextBox 25"/>
            <p:cNvSpPr txBox="1"/>
            <p:nvPr/>
          </p:nvSpPr>
          <p:spPr>
            <a:xfrm flipH="1">
              <a:off x="3347925" y="3836249"/>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grpSp>
        <p:nvGrpSpPr>
          <p:cNvPr id="35" name="组合 34"/>
          <p:cNvGrpSpPr/>
          <p:nvPr/>
        </p:nvGrpSpPr>
        <p:grpSpPr>
          <a:xfrm>
            <a:off x="6693692" y="987574"/>
            <a:ext cx="1118668" cy="702721"/>
            <a:chOff x="6863360" y="1275606"/>
            <a:chExt cx="1118668" cy="702721"/>
          </a:xfrm>
          <a:solidFill>
            <a:srgbClr val="01B0F1"/>
          </a:solidFill>
        </p:grpSpPr>
        <p:sp>
          <p:nvSpPr>
            <p:cNvPr id="27" name="椭圆 26"/>
            <p:cNvSpPr/>
            <p:nvPr/>
          </p:nvSpPr>
          <p:spPr>
            <a:xfrm flipH="1">
              <a:off x="7294132" y="1721208"/>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29" name="TextBox 84"/>
            <p:cNvSpPr txBox="1"/>
            <p:nvPr/>
          </p:nvSpPr>
          <p:spPr>
            <a:xfrm flipH="1">
              <a:off x="6863360" y="1275606"/>
              <a:ext cx="1118668" cy="289310"/>
            </a:xfrm>
            <a:prstGeom prst="rect">
              <a:avLst/>
            </a:prstGeom>
            <a:noFill/>
          </p:spPr>
          <p:txBody>
            <a:bodyPr wrap="square" rtlCol="0">
              <a:spAutoFit/>
            </a:bodyPr>
            <a:lstStyle>
              <a:defPPr>
                <a:defRPr lang="en-US"/>
              </a:defPPr>
              <a:lvl1pPr lvl="0">
                <a:lnSpc>
                  <a:spcPct val="80000"/>
                </a:lnSpc>
                <a:defRPr sz="4400" b="1" kern="0">
                  <a:ln w="18415" cmpd="sng">
                    <a:noFill/>
                    <a:prstDash val="solid"/>
                  </a:ln>
                  <a:solidFill>
                    <a:srgbClr val="FFC000"/>
                  </a:solidFill>
                  <a:latin typeface="Agency FB" panose="020B0503020202020204" pitchFamily="34" charset="0"/>
                  <a:ea typeface="微软雅黑" panose="020B0503020204020204" pitchFamily="34" charset="-122"/>
                </a:defRPr>
              </a:lvl1pPr>
            </a:lstStyle>
            <a:p>
              <a:pPr algn="ctr">
                <a:defRPr/>
              </a:pPr>
              <a:r>
                <a:rPr lang="zh-CN" altLang="en-US" sz="1600" b="0" dirty="0">
                  <a:solidFill>
                    <a:schemeClr val="bg1">
                      <a:lumMod val="50000"/>
                    </a:schemeClr>
                  </a:solidFill>
                  <a:latin typeface="Arial" panose="020B0604020202020204" pitchFamily="34" charset="0"/>
                  <a:cs typeface="Times New Roman" panose="02020603050405020304" pitchFamily="18" charset="0"/>
                  <a:sym typeface="Arial" panose="020B0604020202020204" pitchFamily="34" charset="0"/>
                </a:rPr>
                <a:t>添加文本</a:t>
              </a:r>
            </a:p>
          </p:txBody>
        </p:sp>
      </p:grpSp>
      <p:grpSp>
        <p:nvGrpSpPr>
          <p:cNvPr id="36" name="组合 35"/>
          <p:cNvGrpSpPr/>
          <p:nvPr/>
        </p:nvGrpSpPr>
        <p:grpSpPr>
          <a:xfrm>
            <a:off x="6693692" y="3338564"/>
            <a:ext cx="1118668" cy="716684"/>
            <a:chOff x="6863360" y="3626596"/>
            <a:chExt cx="1118668" cy="716684"/>
          </a:xfrm>
          <a:solidFill>
            <a:srgbClr val="01B0F1"/>
          </a:solidFill>
        </p:grpSpPr>
        <p:sp>
          <p:nvSpPr>
            <p:cNvPr id="28" name="椭圆 27"/>
            <p:cNvSpPr/>
            <p:nvPr/>
          </p:nvSpPr>
          <p:spPr>
            <a:xfrm flipH="1">
              <a:off x="7294132" y="3626596"/>
              <a:ext cx="257119" cy="257119"/>
            </a:xfrm>
            <a:prstGeom prst="ellipse">
              <a:avLst/>
            </a:prstGeom>
            <a:solidFill>
              <a:schemeClr val="accent1"/>
            </a:solidFill>
            <a:ln w="25400" cap="flat" cmpd="sng" algn="ctr">
              <a:noFill/>
              <a:prstDash val="solid"/>
            </a:ln>
            <a:effectLst/>
          </p:spPr>
          <p:txBody>
            <a:bodyPr rtlCol="0" anchor="ctr"/>
            <a:lstStyle/>
            <a:p>
              <a:pPr algn="ctr">
                <a:defRPr/>
              </a:pPr>
              <a:endParaRPr lang="en-US" kern="0">
                <a:solidFill>
                  <a:srgbClr val="EDD7CB"/>
                </a:solidFill>
                <a:latin typeface="Arial" panose="020B0604020202020204" pitchFamily="34" charset="0"/>
                <a:ea typeface="微软雅黑" panose="020B0503020204020204" pitchFamily="34" charset="-122"/>
                <a:sym typeface="Arial" panose="020B0604020202020204" pitchFamily="34" charset="0"/>
              </a:endParaRPr>
            </a:p>
          </p:txBody>
        </p:sp>
        <p:sp>
          <p:nvSpPr>
            <p:cNvPr id="30" name="TextBox 87"/>
            <p:cNvSpPr txBox="1"/>
            <p:nvPr/>
          </p:nvSpPr>
          <p:spPr>
            <a:xfrm flipH="1">
              <a:off x="6863360" y="4053970"/>
              <a:ext cx="1118668" cy="289310"/>
            </a:xfrm>
            <a:prstGeom prst="rect">
              <a:avLst/>
            </a:prstGeom>
            <a:noFill/>
          </p:spPr>
          <p:txBody>
            <a:bodyPr wrap="square" rtlCol="0">
              <a:spAutoFit/>
            </a:bodyPr>
            <a:lstStyle>
              <a:defPPr>
                <a:defRPr lang="zh-CN"/>
              </a:defPPr>
              <a:lvl1pPr lvl="0" algn="ctr">
                <a:lnSpc>
                  <a:spcPct val="80000"/>
                </a:lnSpc>
                <a:defRPr sz="1600" b="0" kern="0">
                  <a:ln w="18415" cmpd="sng">
                    <a:noFill/>
                    <a:prstDash val="solid"/>
                  </a:ln>
                  <a:solidFill>
                    <a:schemeClr val="bg1">
                      <a:lumMod val="50000"/>
                    </a:schemeClr>
                  </a:solidFill>
                  <a:latin typeface="Arial" panose="020B0604020202020204" pitchFamily="34" charset="0"/>
                  <a:ea typeface="微软雅黑" panose="020B0503020204020204" pitchFamily="34" charset="-122"/>
                  <a:cs typeface="Times New Roman" panose="02020603050405020304" pitchFamily="18" charset="0"/>
                </a:defRPr>
              </a:lvl1pPr>
            </a:lstStyle>
            <a:p>
              <a:r>
                <a:rPr lang="zh-CN" altLang="en-US" dirty="0">
                  <a:sym typeface="Arial" panose="020B0604020202020204" pitchFamily="34" charset="0"/>
                </a:rPr>
                <a:t>添加文本</a:t>
              </a:r>
            </a:p>
          </p:txBody>
        </p:sp>
      </p:grpSp>
    </p:spTree>
  </p:cSld>
  <p:clrMapOvr>
    <a:masterClrMapping/>
  </p:clrMapOvr>
  <p:transition spd="slow" advTm="2766">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par>
                                <p:cTn id="14" presetID="22" presetClass="entr" presetSubtype="8" fill="hold"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left)">
                                      <p:cBhvr>
                                        <p:cTn id="16" dur="500"/>
                                        <p:tgtEl>
                                          <p:spTgt spid="10"/>
                                        </p:tgtEl>
                                      </p:cBhvr>
                                    </p:animEffect>
                                  </p:childTnLst>
                                </p:cTn>
                              </p:par>
                            </p:childTnLst>
                          </p:cTn>
                        </p:par>
                        <p:par>
                          <p:cTn id="17" fill="hold">
                            <p:stCondLst>
                              <p:cond delay="1000"/>
                            </p:stCondLst>
                            <p:childTnLst>
                              <p:par>
                                <p:cTn id="18" presetID="47" presetClass="entr" presetSubtype="0" fill="hold" nodeType="after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500"/>
                                        <p:tgtEl>
                                          <p:spTgt spid="31"/>
                                        </p:tgtEl>
                                      </p:cBhvr>
                                    </p:animEffect>
                                    <p:anim calcmode="lin" valueType="num">
                                      <p:cBhvr>
                                        <p:cTn id="21" dur="500" fill="hold"/>
                                        <p:tgtEl>
                                          <p:spTgt spid="31"/>
                                        </p:tgtEl>
                                        <p:attrNameLst>
                                          <p:attrName>ppt_x</p:attrName>
                                        </p:attrNameLst>
                                      </p:cBhvr>
                                      <p:tavLst>
                                        <p:tav tm="0">
                                          <p:val>
                                            <p:strVal val="#ppt_x"/>
                                          </p:val>
                                        </p:tav>
                                        <p:tav tm="100000">
                                          <p:val>
                                            <p:strVal val="#ppt_x"/>
                                          </p:val>
                                        </p:tav>
                                      </p:tavLst>
                                    </p:anim>
                                    <p:anim calcmode="lin" valueType="num">
                                      <p:cBhvr>
                                        <p:cTn id="22" dur="500" fill="hold"/>
                                        <p:tgtEl>
                                          <p:spTgt spid="31"/>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animEffect transition="in" filter="fade">
                                      <p:cBhvr>
                                        <p:cTn id="25" dur="500"/>
                                        <p:tgtEl>
                                          <p:spTgt spid="39"/>
                                        </p:tgtEl>
                                      </p:cBhvr>
                                    </p:animEffect>
                                    <p:anim calcmode="lin" valueType="num">
                                      <p:cBhvr>
                                        <p:cTn id="26" dur="500" fill="hold"/>
                                        <p:tgtEl>
                                          <p:spTgt spid="39"/>
                                        </p:tgtEl>
                                        <p:attrNameLst>
                                          <p:attrName>ppt_x</p:attrName>
                                        </p:attrNameLst>
                                      </p:cBhvr>
                                      <p:tavLst>
                                        <p:tav tm="0">
                                          <p:val>
                                            <p:strVal val="#ppt_x"/>
                                          </p:val>
                                        </p:tav>
                                        <p:tav tm="100000">
                                          <p:val>
                                            <p:strVal val="#ppt_x"/>
                                          </p:val>
                                        </p:tav>
                                      </p:tavLst>
                                    </p:anim>
                                    <p:anim calcmode="lin" valueType="num">
                                      <p:cBhvr>
                                        <p:cTn id="27" dur="500" fill="hold"/>
                                        <p:tgtEl>
                                          <p:spTgt spid="39"/>
                                        </p:tgtEl>
                                        <p:attrNameLst>
                                          <p:attrName>ppt_y</p:attrName>
                                        </p:attrNameLst>
                                      </p:cBhvr>
                                      <p:tavLst>
                                        <p:tav tm="0">
                                          <p:val>
                                            <p:strVal val="#ppt_y+.1"/>
                                          </p:val>
                                        </p:tav>
                                        <p:tav tm="100000">
                                          <p:val>
                                            <p:strVal val="#ppt_y"/>
                                          </p:val>
                                        </p:tav>
                                      </p:tavLst>
                                    </p:anim>
                                  </p:childTnLst>
                                </p:cTn>
                              </p:par>
                              <p:par>
                                <p:cTn id="28" presetID="47" presetClass="entr" presetSubtype="0" fill="hold" nodeType="withEffect">
                                  <p:stCondLst>
                                    <p:cond delay="20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anim calcmode="lin" valueType="num">
                                      <p:cBhvr>
                                        <p:cTn id="31" dur="500" fill="hold"/>
                                        <p:tgtEl>
                                          <p:spTgt spid="32"/>
                                        </p:tgtEl>
                                        <p:attrNameLst>
                                          <p:attrName>ppt_x</p:attrName>
                                        </p:attrNameLst>
                                      </p:cBhvr>
                                      <p:tavLst>
                                        <p:tav tm="0">
                                          <p:val>
                                            <p:strVal val="#ppt_x"/>
                                          </p:val>
                                        </p:tav>
                                        <p:tav tm="100000">
                                          <p:val>
                                            <p:strVal val="#ppt_x"/>
                                          </p:val>
                                        </p:tav>
                                      </p:tavLst>
                                    </p:anim>
                                    <p:anim calcmode="lin" valueType="num">
                                      <p:cBhvr>
                                        <p:cTn id="32" dur="500" fill="hold"/>
                                        <p:tgtEl>
                                          <p:spTgt spid="32"/>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200"/>
                                  </p:stCondLst>
                                  <p:childTnLst>
                                    <p:set>
                                      <p:cBhvr>
                                        <p:cTn id="34" dur="1" fill="hold">
                                          <p:stCondLst>
                                            <p:cond delay="0"/>
                                          </p:stCondLst>
                                        </p:cTn>
                                        <p:tgtEl>
                                          <p:spTgt spid="38"/>
                                        </p:tgtEl>
                                        <p:attrNameLst>
                                          <p:attrName>style.visibility</p:attrName>
                                        </p:attrNameLst>
                                      </p:cBhvr>
                                      <p:to>
                                        <p:strVal val="visible"/>
                                      </p:to>
                                    </p:set>
                                    <p:animEffect transition="in" filter="fade">
                                      <p:cBhvr>
                                        <p:cTn id="35" dur="500"/>
                                        <p:tgtEl>
                                          <p:spTgt spid="38"/>
                                        </p:tgtEl>
                                      </p:cBhvr>
                                    </p:animEffect>
                                    <p:anim calcmode="lin" valueType="num">
                                      <p:cBhvr>
                                        <p:cTn id="36" dur="500" fill="hold"/>
                                        <p:tgtEl>
                                          <p:spTgt spid="38"/>
                                        </p:tgtEl>
                                        <p:attrNameLst>
                                          <p:attrName>ppt_x</p:attrName>
                                        </p:attrNameLst>
                                      </p:cBhvr>
                                      <p:tavLst>
                                        <p:tav tm="0">
                                          <p:val>
                                            <p:strVal val="#ppt_x"/>
                                          </p:val>
                                        </p:tav>
                                        <p:tav tm="100000">
                                          <p:val>
                                            <p:strVal val="#ppt_x"/>
                                          </p:val>
                                        </p:tav>
                                      </p:tavLst>
                                    </p:anim>
                                    <p:anim calcmode="lin" valueType="num">
                                      <p:cBhvr>
                                        <p:cTn id="37" dur="500" fill="hold"/>
                                        <p:tgtEl>
                                          <p:spTgt spid="38"/>
                                        </p:tgtEl>
                                        <p:attrNameLst>
                                          <p:attrName>ppt_y</p:attrName>
                                        </p:attrNameLst>
                                      </p:cBhvr>
                                      <p:tavLst>
                                        <p:tav tm="0">
                                          <p:val>
                                            <p:strVal val="#ppt_y+.1"/>
                                          </p:val>
                                        </p:tav>
                                        <p:tav tm="100000">
                                          <p:val>
                                            <p:strVal val="#ppt_y"/>
                                          </p:val>
                                        </p:tav>
                                      </p:tavLst>
                                    </p:anim>
                                  </p:childTnLst>
                                </p:cTn>
                              </p:par>
                              <p:par>
                                <p:cTn id="38" presetID="47" presetClass="entr" presetSubtype="0" fill="hold" nodeType="withEffect">
                                  <p:stCondLst>
                                    <p:cond delay="40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anim calcmode="lin" valueType="num">
                                      <p:cBhvr>
                                        <p:cTn id="41" dur="500" fill="hold"/>
                                        <p:tgtEl>
                                          <p:spTgt spid="33"/>
                                        </p:tgtEl>
                                        <p:attrNameLst>
                                          <p:attrName>ppt_x</p:attrName>
                                        </p:attrNameLst>
                                      </p:cBhvr>
                                      <p:tavLst>
                                        <p:tav tm="0">
                                          <p:val>
                                            <p:strVal val="#ppt_x"/>
                                          </p:val>
                                        </p:tav>
                                        <p:tav tm="100000">
                                          <p:val>
                                            <p:strVal val="#ppt_x"/>
                                          </p:val>
                                        </p:tav>
                                      </p:tavLst>
                                    </p:anim>
                                    <p:anim calcmode="lin" valueType="num">
                                      <p:cBhvr>
                                        <p:cTn id="42" dur="500" fill="hold"/>
                                        <p:tgtEl>
                                          <p:spTgt spid="33"/>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400"/>
                                  </p:stCondLst>
                                  <p:childTnLst>
                                    <p:set>
                                      <p:cBhvr>
                                        <p:cTn id="44" dur="1" fill="hold">
                                          <p:stCondLst>
                                            <p:cond delay="0"/>
                                          </p:stCondLst>
                                        </p:cTn>
                                        <p:tgtEl>
                                          <p:spTgt spid="37"/>
                                        </p:tgtEl>
                                        <p:attrNameLst>
                                          <p:attrName>style.visibility</p:attrName>
                                        </p:attrNameLst>
                                      </p:cBhvr>
                                      <p:to>
                                        <p:strVal val="visible"/>
                                      </p:to>
                                    </p:set>
                                    <p:animEffect transition="in" filter="fade">
                                      <p:cBhvr>
                                        <p:cTn id="45" dur="500"/>
                                        <p:tgtEl>
                                          <p:spTgt spid="37"/>
                                        </p:tgtEl>
                                      </p:cBhvr>
                                    </p:animEffect>
                                    <p:anim calcmode="lin" valueType="num">
                                      <p:cBhvr>
                                        <p:cTn id="46" dur="500" fill="hold"/>
                                        <p:tgtEl>
                                          <p:spTgt spid="37"/>
                                        </p:tgtEl>
                                        <p:attrNameLst>
                                          <p:attrName>ppt_x</p:attrName>
                                        </p:attrNameLst>
                                      </p:cBhvr>
                                      <p:tavLst>
                                        <p:tav tm="0">
                                          <p:val>
                                            <p:strVal val="#ppt_x"/>
                                          </p:val>
                                        </p:tav>
                                        <p:tav tm="100000">
                                          <p:val>
                                            <p:strVal val="#ppt_x"/>
                                          </p:val>
                                        </p:tav>
                                      </p:tavLst>
                                    </p:anim>
                                    <p:anim calcmode="lin" valueType="num">
                                      <p:cBhvr>
                                        <p:cTn id="47" dur="500" fill="hold"/>
                                        <p:tgtEl>
                                          <p:spTgt spid="37"/>
                                        </p:tgtEl>
                                        <p:attrNameLst>
                                          <p:attrName>ppt_y</p:attrName>
                                        </p:attrNameLst>
                                      </p:cBhvr>
                                      <p:tavLst>
                                        <p:tav tm="0">
                                          <p:val>
                                            <p:strVal val="#ppt_y+.1"/>
                                          </p:val>
                                        </p:tav>
                                        <p:tav tm="100000">
                                          <p:val>
                                            <p:strVal val="#ppt_y"/>
                                          </p:val>
                                        </p:tav>
                                      </p:tavLst>
                                    </p:anim>
                                  </p:childTnLst>
                                </p:cTn>
                              </p:par>
                              <p:par>
                                <p:cTn id="48" presetID="47" presetClass="entr" presetSubtype="0" fill="hold" nodeType="withEffect">
                                  <p:stCondLst>
                                    <p:cond delay="700"/>
                                  </p:stCondLst>
                                  <p:childTnLst>
                                    <p:set>
                                      <p:cBhvr>
                                        <p:cTn id="49" dur="1" fill="hold">
                                          <p:stCondLst>
                                            <p:cond delay="0"/>
                                          </p:stCondLst>
                                        </p:cTn>
                                        <p:tgtEl>
                                          <p:spTgt spid="35"/>
                                        </p:tgtEl>
                                        <p:attrNameLst>
                                          <p:attrName>style.visibility</p:attrName>
                                        </p:attrNameLst>
                                      </p:cBhvr>
                                      <p:to>
                                        <p:strVal val="visible"/>
                                      </p:to>
                                    </p:set>
                                    <p:animEffect transition="in" filter="fade">
                                      <p:cBhvr>
                                        <p:cTn id="50" dur="500"/>
                                        <p:tgtEl>
                                          <p:spTgt spid="35"/>
                                        </p:tgtEl>
                                      </p:cBhvr>
                                    </p:animEffect>
                                    <p:anim calcmode="lin" valueType="num">
                                      <p:cBhvr>
                                        <p:cTn id="51" dur="500" fill="hold"/>
                                        <p:tgtEl>
                                          <p:spTgt spid="35"/>
                                        </p:tgtEl>
                                        <p:attrNameLst>
                                          <p:attrName>ppt_x</p:attrName>
                                        </p:attrNameLst>
                                      </p:cBhvr>
                                      <p:tavLst>
                                        <p:tav tm="0">
                                          <p:val>
                                            <p:strVal val="#ppt_x"/>
                                          </p:val>
                                        </p:tav>
                                        <p:tav tm="100000">
                                          <p:val>
                                            <p:strVal val="#ppt_x"/>
                                          </p:val>
                                        </p:tav>
                                      </p:tavLst>
                                    </p:anim>
                                    <p:anim calcmode="lin" valueType="num">
                                      <p:cBhvr>
                                        <p:cTn id="52" dur="500" fill="hold"/>
                                        <p:tgtEl>
                                          <p:spTgt spid="35"/>
                                        </p:tgtEl>
                                        <p:attrNameLst>
                                          <p:attrName>ppt_y</p:attrName>
                                        </p:attrNameLst>
                                      </p:cBhvr>
                                      <p:tavLst>
                                        <p:tav tm="0">
                                          <p:val>
                                            <p:strVal val="#ppt_y-.1"/>
                                          </p:val>
                                        </p:tav>
                                        <p:tav tm="100000">
                                          <p:val>
                                            <p:strVal val="#ppt_y"/>
                                          </p:val>
                                        </p:tav>
                                      </p:tavLst>
                                    </p:anim>
                                  </p:childTnLst>
                                </p:cTn>
                              </p:par>
                              <p:par>
                                <p:cTn id="53" presetID="42" presetClass="entr" presetSubtype="0" fill="hold" nodeType="withEffect">
                                  <p:stCondLst>
                                    <p:cond delay="700"/>
                                  </p:stCondLst>
                                  <p:childTnLst>
                                    <p:set>
                                      <p:cBhvr>
                                        <p:cTn id="54" dur="1" fill="hold">
                                          <p:stCondLst>
                                            <p:cond delay="0"/>
                                          </p:stCondLst>
                                        </p:cTn>
                                        <p:tgtEl>
                                          <p:spTgt spid="36"/>
                                        </p:tgtEl>
                                        <p:attrNameLst>
                                          <p:attrName>style.visibility</p:attrName>
                                        </p:attrNameLst>
                                      </p:cBhvr>
                                      <p:to>
                                        <p:strVal val="visible"/>
                                      </p:to>
                                    </p:set>
                                    <p:animEffect transition="in" filter="fade">
                                      <p:cBhvr>
                                        <p:cTn id="55" dur="500"/>
                                        <p:tgtEl>
                                          <p:spTgt spid="36"/>
                                        </p:tgtEl>
                                      </p:cBhvr>
                                    </p:animEffect>
                                    <p:anim calcmode="lin" valueType="num">
                                      <p:cBhvr>
                                        <p:cTn id="56" dur="500" fill="hold"/>
                                        <p:tgtEl>
                                          <p:spTgt spid="36"/>
                                        </p:tgtEl>
                                        <p:attrNameLst>
                                          <p:attrName>ppt_x</p:attrName>
                                        </p:attrNameLst>
                                      </p:cBhvr>
                                      <p:tavLst>
                                        <p:tav tm="0">
                                          <p:val>
                                            <p:strVal val="#ppt_x"/>
                                          </p:val>
                                        </p:tav>
                                        <p:tav tm="100000">
                                          <p:val>
                                            <p:strVal val="#ppt_x"/>
                                          </p:val>
                                        </p:tav>
                                      </p:tavLst>
                                    </p:anim>
                                    <p:anim calcmode="lin" valueType="num">
                                      <p:cBhvr>
                                        <p:cTn id="57" dur="5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图片 35"/>
          <p:cNvPicPr>
            <a:picLocks noChangeAspect="1"/>
          </p:cNvPicPr>
          <p:nvPr/>
        </p:nvPicPr>
        <p:blipFill>
          <a:blip r:embed="rId3" cstate="screen"/>
          <a:stretch>
            <a:fillRect/>
          </a:stretch>
        </p:blipFill>
        <p:spPr>
          <a:xfrm>
            <a:off x="0" y="0"/>
            <a:ext cx="9144000" cy="5143500"/>
          </a:xfrm>
          <a:prstGeom prst="rect">
            <a:avLst/>
          </a:prstGeom>
        </p:spPr>
      </p:pic>
      <p:pic>
        <p:nvPicPr>
          <p:cNvPr id="3074" name="Picture 2" descr="C:\Users\MDG\Desktop\532a3884ebf99.png"/>
          <p:cNvPicPr>
            <a:picLocks noChangeAspect="1" noChangeArrowheads="1"/>
          </p:cNvPicPr>
          <p:nvPr/>
        </p:nvPicPr>
        <p:blipFill>
          <a:blip r:embed="rId4"/>
          <a:srcRect/>
          <a:stretch>
            <a:fillRect/>
          </a:stretch>
        </p:blipFill>
        <p:spPr bwMode="auto">
          <a:xfrm>
            <a:off x="1057275" y="1059582"/>
            <a:ext cx="7029450" cy="332422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rot="21300178">
            <a:off x="1348981" y="1982308"/>
            <a:ext cx="3141834" cy="839978"/>
          </a:xfrm>
          <a:prstGeom prst="rect">
            <a:avLst/>
          </a:prstGeom>
          <a:noFill/>
        </p:spPr>
        <p:txBody>
          <a:bodyPr wrap="none" rtlCol="0">
            <a:prstTxWarp prst="textFadeLeft">
              <a:avLst>
                <a:gd name="adj" fmla="val 30137"/>
              </a:avLst>
            </a:prstTxWarp>
            <a:spAutoFit/>
          </a:bodyPr>
          <a:lstStyle/>
          <a:p>
            <a:r>
              <a:rPr lang="zh-CN" altLang="en-US" sz="2800" b="1" dirty="0">
                <a:solidFill>
                  <a:srgbClr val="C00000"/>
                </a:solidFill>
              </a:rPr>
              <a:t>感谢您的聆听！</a:t>
            </a:r>
          </a:p>
        </p:txBody>
      </p:sp>
      <p:grpSp>
        <p:nvGrpSpPr>
          <p:cNvPr id="37" name="组合 36"/>
          <p:cNvGrpSpPr/>
          <p:nvPr/>
        </p:nvGrpSpPr>
        <p:grpSpPr>
          <a:xfrm>
            <a:off x="0" y="5036820"/>
            <a:ext cx="9144000" cy="127218"/>
            <a:chOff x="0" y="4951225"/>
            <a:chExt cx="9144000" cy="192275"/>
          </a:xfrm>
        </p:grpSpPr>
        <p:sp>
          <p:nvSpPr>
            <p:cNvPr id="38" name="矩形 37"/>
            <p:cNvSpPr/>
            <p:nvPr/>
          </p:nvSpPr>
          <p:spPr>
            <a:xfrm>
              <a:off x="5615314" y="4951225"/>
              <a:ext cx="3528686" cy="19227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9" name="矩形 1597"/>
            <p:cNvSpPr/>
            <p:nvPr/>
          </p:nvSpPr>
          <p:spPr>
            <a:xfrm>
              <a:off x="0" y="4951225"/>
              <a:ext cx="6154620" cy="192275"/>
            </a:xfrm>
            <a:custGeom>
              <a:avLst/>
              <a:gdLst/>
              <a:ahLst/>
              <a:cxnLst/>
              <a:rect l="l" t="t" r="r" b="b"/>
              <a:pathLst>
                <a:path w="6154620" h="192275">
                  <a:moveTo>
                    <a:pt x="0" y="0"/>
                  </a:moveTo>
                  <a:lnTo>
                    <a:pt x="5935941" y="0"/>
                  </a:lnTo>
                  <a:lnTo>
                    <a:pt x="6154620" y="192275"/>
                  </a:lnTo>
                  <a:lnTo>
                    <a:pt x="0" y="192275"/>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med" p14:dur="700" advTm="4000">
        <p:fade/>
      </p:transition>
    </mc:Choice>
    <mc:Fallback xmlns="">
      <p:transition spd="med" advTm="4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3074"/>
                                        </p:tgtEl>
                                        <p:attrNameLst>
                                          <p:attrName>style.visibility</p:attrName>
                                        </p:attrNameLst>
                                      </p:cBhvr>
                                      <p:to>
                                        <p:strVal val="visible"/>
                                      </p:to>
                                    </p:set>
                                    <p:anim calcmode="lin" valueType="num">
                                      <p:cBhvr additive="base">
                                        <p:cTn id="7" dur="500" fill="hold"/>
                                        <p:tgtEl>
                                          <p:spTgt spid="3074"/>
                                        </p:tgtEl>
                                        <p:attrNameLst>
                                          <p:attrName>ppt_x</p:attrName>
                                        </p:attrNameLst>
                                      </p:cBhvr>
                                      <p:tavLst>
                                        <p:tav tm="0">
                                          <p:val>
                                            <p:strVal val="0-#ppt_w/2"/>
                                          </p:val>
                                        </p:tav>
                                        <p:tav tm="100000">
                                          <p:val>
                                            <p:strVal val="#ppt_x"/>
                                          </p:val>
                                        </p:tav>
                                      </p:tavLst>
                                    </p:anim>
                                    <p:anim calcmode="lin" valueType="num">
                                      <p:cBhvr additive="base">
                                        <p:cTn id="8" dur="500" fill="hold"/>
                                        <p:tgtEl>
                                          <p:spTgt spid="307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left)">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领导</a:t>
            </a:r>
          </a:p>
        </p:txBody>
      </p:sp>
      <p:grpSp>
        <p:nvGrpSpPr>
          <p:cNvPr id="3" name="组合 2"/>
          <p:cNvGrpSpPr/>
          <p:nvPr/>
        </p:nvGrpSpPr>
        <p:grpSpPr>
          <a:xfrm>
            <a:off x="971600" y="1263357"/>
            <a:ext cx="1512168" cy="1709829"/>
            <a:chOff x="1259632" y="1347614"/>
            <a:chExt cx="1512168" cy="1709829"/>
          </a:xfrm>
          <a:effectLst/>
        </p:grpSpPr>
        <p:sp>
          <p:nvSpPr>
            <p:cNvPr id="4" name="等腰三角形 3"/>
            <p:cNvSpPr/>
            <p:nvPr/>
          </p:nvSpPr>
          <p:spPr>
            <a:xfrm flipV="1">
              <a:off x="1259632" y="1347614"/>
              <a:ext cx="1512168" cy="1709829"/>
            </a:xfrm>
            <a:custGeom>
              <a:avLst/>
              <a:gdLst/>
              <a:ahLst/>
              <a:cxnLst/>
              <a:rect l="l" t="t" r="r" b="b"/>
              <a:pathLst>
                <a:path w="1512168" h="1709829">
                  <a:moveTo>
                    <a:pt x="756084" y="1709829"/>
                  </a:moveTo>
                  <a:cubicBezTo>
                    <a:pt x="1173658" y="1709829"/>
                    <a:pt x="1512168" y="1371319"/>
                    <a:pt x="1512168" y="953745"/>
                  </a:cubicBezTo>
                  <a:cubicBezTo>
                    <a:pt x="1512168" y="577322"/>
                    <a:pt x="1237089" y="265148"/>
                    <a:pt x="876837" y="208196"/>
                  </a:cubicBezTo>
                  <a:lnTo>
                    <a:pt x="756084" y="0"/>
                  </a:lnTo>
                  <a:lnTo>
                    <a:pt x="635331" y="208196"/>
                  </a:lnTo>
                  <a:cubicBezTo>
                    <a:pt x="275079" y="265148"/>
                    <a:pt x="0" y="577322"/>
                    <a:pt x="0" y="953745"/>
                  </a:cubicBezTo>
                  <a:cubicBezTo>
                    <a:pt x="0" y="1371319"/>
                    <a:pt x="338510" y="1709829"/>
                    <a:pt x="756084" y="1709829"/>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5" name="Picture 4"/>
            <p:cNvPicPr>
              <a:picLocks noChangeAspect="1" noChangeArrowheads="1"/>
            </p:cNvPicPr>
            <p:nvPr/>
          </p:nvPicPr>
          <p:blipFill rotWithShape="1">
            <a:blip r:embed="rId3" cstate="screen"/>
            <a:srcRect/>
            <a:stretch>
              <a:fillRect/>
            </a:stretch>
          </p:blipFill>
          <p:spPr bwMode="auto">
            <a:xfrm>
              <a:off x="1331775" y="1415527"/>
              <a:ext cx="1367882" cy="1367882"/>
            </a:xfrm>
            <a:prstGeom prst="ellipse">
              <a:avLst/>
            </a:prstGeom>
            <a:noFill/>
            <a:ln>
              <a:noFill/>
            </a:ln>
            <a:extLst>
              <a:ext uri="{909E8E84-426E-40DD-AFC4-6F175D3DCCD1}">
                <a14:hiddenFill xmlns:a14="http://schemas.microsoft.com/office/drawing/2010/main">
                  <a:solidFill>
                    <a:schemeClr val="accent1"/>
                  </a:solidFill>
                </a14:hiddenFill>
              </a:ext>
            </a:extLst>
          </p:spPr>
        </p:pic>
      </p:grpSp>
      <p:grpSp>
        <p:nvGrpSpPr>
          <p:cNvPr id="6" name="组合 5"/>
          <p:cNvGrpSpPr/>
          <p:nvPr/>
        </p:nvGrpSpPr>
        <p:grpSpPr>
          <a:xfrm>
            <a:off x="4764022" y="1263357"/>
            <a:ext cx="1512168" cy="1709829"/>
            <a:chOff x="4764022" y="1347614"/>
            <a:chExt cx="1512168" cy="1709829"/>
          </a:xfrm>
          <a:effectLst/>
        </p:grpSpPr>
        <p:sp>
          <p:nvSpPr>
            <p:cNvPr id="7" name="等腰三角形 3"/>
            <p:cNvSpPr/>
            <p:nvPr/>
          </p:nvSpPr>
          <p:spPr>
            <a:xfrm flipV="1">
              <a:off x="4764022" y="1347614"/>
              <a:ext cx="1512168" cy="1709829"/>
            </a:xfrm>
            <a:custGeom>
              <a:avLst/>
              <a:gdLst/>
              <a:ahLst/>
              <a:cxnLst/>
              <a:rect l="l" t="t" r="r" b="b"/>
              <a:pathLst>
                <a:path w="1512168" h="1709829">
                  <a:moveTo>
                    <a:pt x="756084" y="1709829"/>
                  </a:moveTo>
                  <a:cubicBezTo>
                    <a:pt x="1173658" y="1709829"/>
                    <a:pt x="1512168" y="1371319"/>
                    <a:pt x="1512168" y="953745"/>
                  </a:cubicBezTo>
                  <a:cubicBezTo>
                    <a:pt x="1512168" y="577322"/>
                    <a:pt x="1237089" y="265148"/>
                    <a:pt x="876837" y="208196"/>
                  </a:cubicBezTo>
                  <a:lnTo>
                    <a:pt x="756084" y="0"/>
                  </a:lnTo>
                  <a:lnTo>
                    <a:pt x="635331" y="208196"/>
                  </a:lnTo>
                  <a:cubicBezTo>
                    <a:pt x="275079" y="265148"/>
                    <a:pt x="0" y="577322"/>
                    <a:pt x="0" y="953745"/>
                  </a:cubicBezTo>
                  <a:cubicBezTo>
                    <a:pt x="0" y="1371319"/>
                    <a:pt x="338510" y="1709829"/>
                    <a:pt x="756084" y="1709829"/>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Picture 2"/>
            <p:cNvPicPr>
              <a:picLocks noChangeAspect="1" noChangeArrowheads="1"/>
            </p:cNvPicPr>
            <p:nvPr/>
          </p:nvPicPr>
          <p:blipFill rotWithShape="1">
            <a:blip r:embed="rId4" cstate="screen"/>
            <a:srcRect/>
            <a:stretch>
              <a:fillRect/>
            </a:stretch>
          </p:blipFill>
          <p:spPr bwMode="auto">
            <a:xfrm>
              <a:off x="4811827" y="1397679"/>
              <a:ext cx="1403578" cy="1403578"/>
            </a:xfrm>
            <a:prstGeom prst="ellipse">
              <a:avLst/>
            </a:prstGeom>
            <a:noFill/>
            <a:ln>
              <a:noFill/>
            </a:ln>
            <a:extLst>
              <a:ext uri="{909E8E84-426E-40DD-AFC4-6F175D3DCCD1}">
                <a14:hiddenFill xmlns:a14="http://schemas.microsoft.com/office/drawing/2010/main">
                  <a:solidFill>
                    <a:schemeClr val="accent1"/>
                  </a:solidFill>
                </a14:hiddenFill>
              </a:ext>
            </a:extLst>
          </p:spPr>
        </p:pic>
      </p:grpSp>
      <p:grpSp>
        <p:nvGrpSpPr>
          <p:cNvPr id="9" name="组合 8"/>
          <p:cNvGrpSpPr/>
          <p:nvPr/>
        </p:nvGrpSpPr>
        <p:grpSpPr>
          <a:xfrm>
            <a:off x="6660232" y="1263357"/>
            <a:ext cx="1512168" cy="1709829"/>
            <a:chOff x="6516216" y="1347614"/>
            <a:chExt cx="1512168" cy="1709829"/>
          </a:xfrm>
          <a:effectLst/>
        </p:grpSpPr>
        <p:sp>
          <p:nvSpPr>
            <p:cNvPr id="10" name="等腰三角形 3"/>
            <p:cNvSpPr/>
            <p:nvPr/>
          </p:nvSpPr>
          <p:spPr>
            <a:xfrm flipV="1">
              <a:off x="6516216" y="1347614"/>
              <a:ext cx="1512168" cy="1709829"/>
            </a:xfrm>
            <a:custGeom>
              <a:avLst/>
              <a:gdLst/>
              <a:ahLst/>
              <a:cxnLst/>
              <a:rect l="l" t="t" r="r" b="b"/>
              <a:pathLst>
                <a:path w="1512168" h="1709829">
                  <a:moveTo>
                    <a:pt x="756084" y="1709829"/>
                  </a:moveTo>
                  <a:cubicBezTo>
                    <a:pt x="1173658" y="1709829"/>
                    <a:pt x="1512168" y="1371319"/>
                    <a:pt x="1512168" y="953745"/>
                  </a:cubicBezTo>
                  <a:cubicBezTo>
                    <a:pt x="1512168" y="577322"/>
                    <a:pt x="1237089" y="265148"/>
                    <a:pt x="876837" y="208196"/>
                  </a:cubicBezTo>
                  <a:lnTo>
                    <a:pt x="756084" y="0"/>
                  </a:lnTo>
                  <a:lnTo>
                    <a:pt x="635331" y="208196"/>
                  </a:lnTo>
                  <a:cubicBezTo>
                    <a:pt x="275079" y="265148"/>
                    <a:pt x="0" y="577322"/>
                    <a:pt x="0" y="953745"/>
                  </a:cubicBezTo>
                  <a:cubicBezTo>
                    <a:pt x="0" y="1371319"/>
                    <a:pt x="338510" y="1709829"/>
                    <a:pt x="756084" y="1709829"/>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Picture 5"/>
            <p:cNvPicPr>
              <a:picLocks noChangeAspect="1" noChangeArrowheads="1"/>
            </p:cNvPicPr>
            <p:nvPr/>
          </p:nvPicPr>
          <p:blipFill rotWithShape="1">
            <a:blip r:embed="rId5" cstate="screen"/>
            <a:srcRect/>
            <a:stretch>
              <a:fillRect/>
            </a:stretch>
          </p:blipFill>
          <p:spPr bwMode="auto">
            <a:xfrm>
              <a:off x="6561743" y="1388911"/>
              <a:ext cx="1421114" cy="1421114"/>
            </a:xfrm>
            <a:prstGeom prst="ellipse">
              <a:avLst/>
            </a:prstGeom>
            <a:noFill/>
            <a:ln>
              <a:noFill/>
            </a:ln>
            <a:extLst>
              <a:ext uri="{909E8E84-426E-40DD-AFC4-6F175D3DCCD1}">
                <a14:hiddenFill xmlns:a14="http://schemas.microsoft.com/office/drawing/2010/main">
                  <a:solidFill>
                    <a:schemeClr val="accent1"/>
                  </a:solidFill>
                </a14:hiddenFill>
              </a:ext>
            </a:extLst>
          </p:spPr>
        </p:pic>
      </p:grpSp>
      <p:grpSp>
        <p:nvGrpSpPr>
          <p:cNvPr id="12" name="组合 11"/>
          <p:cNvGrpSpPr/>
          <p:nvPr/>
        </p:nvGrpSpPr>
        <p:grpSpPr>
          <a:xfrm>
            <a:off x="2867811" y="1263357"/>
            <a:ext cx="1512168" cy="1709829"/>
            <a:chOff x="3011827" y="1347614"/>
            <a:chExt cx="1512168" cy="1709829"/>
          </a:xfrm>
          <a:effectLst/>
        </p:grpSpPr>
        <p:sp>
          <p:nvSpPr>
            <p:cNvPr id="13" name="等腰三角形 3"/>
            <p:cNvSpPr/>
            <p:nvPr/>
          </p:nvSpPr>
          <p:spPr>
            <a:xfrm flipV="1">
              <a:off x="3011827" y="1347614"/>
              <a:ext cx="1512168" cy="1709829"/>
            </a:xfrm>
            <a:custGeom>
              <a:avLst/>
              <a:gdLst/>
              <a:ahLst/>
              <a:cxnLst/>
              <a:rect l="l" t="t" r="r" b="b"/>
              <a:pathLst>
                <a:path w="1512168" h="1709829">
                  <a:moveTo>
                    <a:pt x="756084" y="1709829"/>
                  </a:moveTo>
                  <a:cubicBezTo>
                    <a:pt x="1173658" y="1709829"/>
                    <a:pt x="1512168" y="1371319"/>
                    <a:pt x="1512168" y="953745"/>
                  </a:cubicBezTo>
                  <a:cubicBezTo>
                    <a:pt x="1512168" y="577322"/>
                    <a:pt x="1237089" y="265148"/>
                    <a:pt x="876837" y="208196"/>
                  </a:cubicBezTo>
                  <a:lnTo>
                    <a:pt x="756084" y="0"/>
                  </a:lnTo>
                  <a:lnTo>
                    <a:pt x="635331" y="208196"/>
                  </a:lnTo>
                  <a:cubicBezTo>
                    <a:pt x="275079" y="265148"/>
                    <a:pt x="0" y="577322"/>
                    <a:pt x="0" y="953745"/>
                  </a:cubicBezTo>
                  <a:cubicBezTo>
                    <a:pt x="0" y="1371319"/>
                    <a:pt x="338510" y="1709829"/>
                    <a:pt x="756084" y="1709829"/>
                  </a:cubicBezTo>
                  <a:close/>
                </a:path>
              </a:pathLst>
            </a:custGeom>
            <a:solidFill>
              <a:srgbClr val="C5C5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Picture 2"/>
            <p:cNvPicPr>
              <a:picLocks noChangeAspect="1" noChangeArrowheads="1"/>
            </p:cNvPicPr>
            <p:nvPr/>
          </p:nvPicPr>
          <p:blipFill rotWithShape="1">
            <a:blip r:embed="rId6" cstate="screen"/>
            <a:srcRect/>
            <a:stretch>
              <a:fillRect/>
            </a:stretch>
          </p:blipFill>
          <p:spPr bwMode="auto">
            <a:xfrm>
              <a:off x="3089537" y="1411492"/>
              <a:ext cx="1375952" cy="1375952"/>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5" name="组合 14"/>
          <p:cNvGrpSpPr/>
          <p:nvPr/>
        </p:nvGrpSpPr>
        <p:grpSpPr>
          <a:xfrm>
            <a:off x="1139036" y="3035148"/>
            <a:ext cx="1210588" cy="1108584"/>
            <a:chOff x="1427068" y="3119405"/>
            <a:chExt cx="1210588" cy="1108584"/>
          </a:xfrm>
        </p:grpSpPr>
        <p:sp>
          <p:nvSpPr>
            <p:cNvPr id="16" name="TextBox 15"/>
            <p:cNvSpPr txBox="1"/>
            <p:nvPr/>
          </p:nvSpPr>
          <p:spPr>
            <a:xfrm>
              <a:off x="1550373" y="3119405"/>
              <a:ext cx="1005403" cy="338554"/>
            </a:xfrm>
            <a:prstGeom prst="rect">
              <a:avLst/>
            </a:prstGeom>
            <a:noFill/>
          </p:spPr>
          <p:txBody>
            <a:bodyPr wrap="none" rtlCol="0">
              <a:spAutoFit/>
            </a:bodyPr>
            <a:lstStyle/>
            <a:p>
              <a:r>
                <a:rPr lang="zh-CN" altLang="en-US" sz="1600" b="1" dirty="0">
                  <a:solidFill>
                    <a:schemeClr val="accent1"/>
                  </a:solidFill>
                </a:rPr>
                <a:t>添加姓名</a:t>
              </a:r>
            </a:p>
          </p:txBody>
        </p:sp>
        <p:sp>
          <p:nvSpPr>
            <p:cNvPr id="17" name="TextBox 16"/>
            <p:cNvSpPr txBox="1"/>
            <p:nvPr/>
          </p:nvSpPr>
          <p:spPr>
            <a:xfrm>
              <a:off x="1427068" y="3520103"/>
              <a:ext cx="1210588" cy="707886"/>
            </a:xfrm>
            <a:prstGeom prst="rect">
              <a:avLst/>
            </a:prstGeom>
            <a:noFill/>
          </p:spPr>
          <p:txBody>
            <a:bodyPr wrap="none" rtlCol="0">
              <a:spAutoFit/>
            </a:bodyPr>
            <a:lstStyle/>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p>
          </p:txBody>
        </p:sp>
      </p:grpSp>
      <p:grpSp>
        <p:nvGrpSpPr>
          <p:cNvPr id="18" name="组合 17"/>
          <p:cNvGrpSpPr/>
          <p:nvPr/>
        </p:nvGrpSpPr>
        <p:grpSpPr>
          <a:xfrm>
            <a:off x="3029698" y="3035148"/>
            <a:ext cx="1210588" cy="1120778"/>
            <a:chOff x="3173714" y="3119405"/>
            <a:chExt cx="1210588" cy="1120778"/>
          </a:xfrm>
        </p:grpSpPr>
        <p:sp>
          <p:nvSpPr>
            <p:cNvPr id="19" name="TextBox 18"/>
            <p:cNvSpPr txBox="1"/>
            <p:nvPr/>
          </p:nvSpPr>
          <p:spPr>
            <a:xfrm>
              <a:off x="3302568" y="3119405"/>
              <a:ext cx="1005403" cy="338554"/>
            </a:xfrm>
            <a:prstGeom prst="rect">
              <a:avLst/>
            </a:prstGeom>
            <a:noFill/>
          </p:spPr>
          <p:txBody>
            <a:bodyPr wrap="none" rtlCol="0">
              <a:spAutoFit/>
            </a:bodyPr>
            <a:lstStyle>
              <a:defPPr>
                <a:defRPr lang="zh-CN"/>
              </a:defPPr>
              <a:lvl1pPr>
                <a:defRPr sz="1600" b="1">
                  <a:solidFill>
                    <a:srgbClr val="1CCBA8"/>
                  </a:solidFill>
                </a:defRPr>
              </a:lvl1pPr>
            </a:lstStyle>
            <a:p>
              <a:r>
                <a:rPr lang="zh-CN" altLang="en-US" dirty="0">
                  <a:solidFill>
                    <a:schemeClr val="accent1"/>
                  </a:solidFill>
                </a:rPr>
                <a:t>添加姓名</a:t>
              </a:r>
            </a:p>
          </p:txBody>
        </p:sp>
        <p:sp>
          <p:nvSpPr>
            <p:cNvPr id="20" name="TextBox 19"/>
            <p:cNvSpPr txBox="1"/>
            <p:nvPr/>
          </p:nvSpPr>
          <p:spPr>
            <a:xfrm>
              <a:off x="3173714" y="3532297"/>
              <a:ext cx="1210588" cy="707886"/>
            </a:xfrm>
            <a:prstGeom prst="rect">
              <a:avLst/>
            </a:prstGeom>
            <a:noFill/>
          </p:spPr>
          <p:txBody>
            <a:bodyPr wrap="none" rtlCol="0">
              <a:spAutoFit/>
            </a:bodyPr>
            <a:lstStyle/>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p>
          </p:txBody>
        </p:sp>
      </p:grpSp>
      <p:grpSp>
        <p:nvGrpSpPr>
          <p:cNvPr id="21" name="组合 20"/>
          <p:cNvGrpSpPr/>
          <p:nvPr/>
        </p:nvGrpSpPr>
        <p:grpSpPr>
          <a:xfrm>
            <a:off x="4920360" y="3035148"/>
            <a:ext cx="1210588" cy="1120778"/>
            <a:chOff x="4920360" y="3119405"/>
            <a:chExt cx="1210588" cy="1120778"/>
          </a:xfrm>
        </p:grpSpPr>
        <p:sp>
          <p:nvSpPr>
            <p:cNvPr id="22" name="TextBox 21"/>
            <p:cNvSpPr txBox="1"/>
            <p:nvPr/>
          </p:nvSpPr>
          <p:spPr>
            <a:xfrm>
              <a:off x="5054763" y="3119405"/>
              <a:ext cx="1005403" cy="338554"/>
            </a:xfrm>
            <a:prstGeom prst="rect">
              <a:avLst/>
            </a:prstGeom>
            <a:noFill/>
          </p:spPr>
          <p:txBody>
            <a:bodyPr wrap="none" rtlCol="0">
              <a:spAutoFit/>
            </a:bodyPr>
            <a:lstStyle>
              <a:defPPr>
                <a:defRPr lang="zh-CN"/>
              </a:defPPr>
              <a:lvl1pPr>
                <a:defRPr sz="1600" b="1">
                  <a:solidFill>
                    <a:srgbClr val="1CCBA8"/>
                  </a:solidFill>
                </a:defRPr>
              </a:lvl1pPr>
            </a:lstStyle>
            <a:p>
              <a:r>
                <a:rPr lang="zh-CN" altLang="en-US" dirty="0">
                  <a:solidFill>
                    <a:schemeClr val="accent1"/>
                  </a:solidFill>
                </a:rPr>
                <a:t>添加姓名</a:t>
              </a:r>
            </a:p>
          </p:txBody>
        </p:sp>
        <p:sp>
          <p:nvSpPr>
            <p:cNvPr id="23" name="TextBox 22"/>
            <p:cNvSpPr txBox="1"/>
            <p:nvPr/>
          </p:nvSpPr>
          <p:spPr>
            <a:xfrm>
              <a:off x="4920360" y="3532297"/>
              <a:ext cx="1210588" cy="707886"/>
            </a:xfrm>
            <a:prstGeom prst="rect">
              <a:avLst/>
            </a:prstGeom>
            <a:noFill/>
          </p:spPr>
          <p:txBody>
            <a:bodyPr wrap="none" rtlCol="0">
              <a:spAutoFit/>
            </a:bodyPr>
            <a:lstStyle/>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p>
          </p:txBody>
        </p:sp>
      </p:grpSp>
      <p:grpSp>
        <p:nvGrpSpPr>
          <p:cNvPr id="24" name="组合 23"/>
          <p:cNvGrpSpPr/>
          <p:nvPr/>
        </p:nvGrpSpPr>
        <p:grpSpPr>
          <a:xfrm>
            <a:off x="6811021" y="3035148"/>
            <a:ext cx="1210588" cy="1120778"/>
            <a:chOff x="6667005" y="3119405"/>
            <a:chExt cx="1210588" cy="1120778"/>
          </a:xfrm>
        </p:grpSpPr>
        <p:sp>
          <p:nvSpPr>
            <p:cNvPr id="25" name="TextBox 24"/>
            <p:cNvSpPr txBox="1"/>
            <p:nvPr/>
          </p:nvSpPr>
          <p:spPr>
            <a:xfrm>
              <a:off x="6806957" y="3119405"/>
              <a:ext cx="1005403" cy="338554"/>
            </a:xfrm>
            <a:prstGeom prst="rect">
              <a:avLst/>
            </a:prstGeom>
            <a:noFill/>
          </p:spPr>
          <p:txBody>
            <a:bodyPr wrap="none" rtlCol="0">
              <a:spAutoFit/>
            </a:bodyPr>
            <a:lstStyle>
              <a:defPPr>
                <a:defRPr lang="zh-CN"/>
              </a:defPPr>
              <a:lvl1pPr>
                <a:defRPr sz="1600" b="1">
                  <a:solidFill>
                    <a:srgbClr val="1CCBA8"/>
                  </a:solidFill>
                </a:defRPr>
              </a:lvl1pPr>
            </a:lstStyle>
            <a:p>
              <a:r>
                <a:rPr lang="zh-CN" altLang="en-US" dirty="0">
                  <a:solidFill>
                    <a:schemeClr val="accent1"/>
                  </a:solidFill>
                </a:rPr>
                <a:t>添加姓名</a:t>
              </a:r>
            </a:p>
          </p:txBody>
        </p:sp>
        <p:sp>
          <p:nvSpPr>
            <p:cNvPr id="26" name="TextBox 25"/>
            <p:cNvSpPr txBox="1"/>
            <p:nvPr/>
          </p:nvSpPr>
          <p:spPr>
            <a:xfrm>
              <a:off x="6667005" y="3532297"/>
              <a:ext cx="1210588" cy="707886"/>
            </a:xfrm>
            <a:prstGeom prst="rect">
              <a:avLst/>
            </a:prstGeom>
            <a:noFill/>
          </p:spPr>
          <p:txBody>
            <a:bodyPr wrap="none" rtlCol="0">
              <a:spAutoFit/>
            </a:bodyPr>
            <a:lstStyle/>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endParaRPr lang="en-US" altLang="zh-CN" sz="1000" dirty="0">
                <a:solidFill>
                  <a:schemeClr val="bg1">
                    <a:lumMod val="50000"/>
                  </a:schemeClr>
                </a:solidFill>
              </a:endParaRPr>
            </a:p>
            <a:p>
              <a:pPr algn="ctr"/>
              <a:r>
                <a:rPr lang="zh-CN" altLang="en-US" sz="1000" dirty="0">
                  <a:solidFill>
                    <a:schemeClr val="bg1">
                      <a:lumMod val="50000"/>
                    </a:schemeClr>
                  </a:solidFill>
                </a:rPr>
                <a:t>单击此处添加文本</a:t>
              </a:r>
            </a:p>
          </p:txBody>
        </p:sp>
      </p:grpSp>
    </p:spTree>
  </p:cSld>
  <p:clrMapOvr>
    <a:masterClrMapping/>
  </p:clrMapOvr>
  <p:transition spd="slow" advTm="3363">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30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anim calcmode="lin" valueType="num">
                                      <p:cBhvr>
                                        <p:cTn id="13" dur="500" fill="hold"/>
                                        <p:tgtEl>
                                          <p:spTgt spid="12"/>
                                        </p:tgtEl>
                                        <p:attrNameLst>
                                          <p:attrName>ppt_x</p:attrName>
                                        </p:attrNameLst>
                                      </p:cBhvr>
                                      <p:tavLst>
                                        <p:tav tm="0">
                                          <p:val>
                                            <p:strVal val="#ppt_x"/>
                                          </p:val>
                                        </p:tav>
                                        <p:tav tm="100000">
                                          <p:val>
                                            <p:strVal val="#ppt_x"/>
                                          </p:val>
                                        </p:tav>
                                      </p:tavLst>
                                    </p:anim>
                                    <p:anim calcmode="lin" valueType="num">
                                      <p:cBhvr>
                                        <p:cTn id="14" dur="500" fill="hold"/>
                                        <p:tgtEl>
                                          <p:spTgt spid="12"/>
                                        </p:tgtEl>
                                        <p:attrNameLst>
                                          <p:attrName>ppt_y</p:attrName>
                                        </p:attrNameLst>
                                      </p:cBhvr>
                                      <p:tavLst>
                                        <p:tav tm="0">
                                          <p:val>
                                            <p:strVal val="#ppt_y-.1"/>
                                          </p:val>
                                        </p:tav>
                                        <p:tav tm="100000">
                                          <p:val>
                                            <p:strVal val="#ppt_y"/>
                                          </p:val>
                                        </p:tav>
                                      </p:tavLst>
                                    </p:anim>
                                  </p:childTnLst>
                                </p:cTn>
                              </p:par>
                              <p:par>
                                <p:cTn id="15" presetID="22" presetClass="entr" presetSubtype="1" fill="hold" nodeType="withEffect">
                                  <p:stCondLst>
                                    <p:cond delay="300"/>
                                  </p:stCondLst>
                                  <p:childTnLst>
                                    <p:set>
                                      <p:cBhvr>
                                        <p:cTn id="16" dur="1" fill="hold">
                                          <p:stCondLst>
                                            <p:cond delay="0"/>
                                          </p:stCondLst>
                                        </p:cTn>
                                        <p:tgtEl>
                                          <p:spTgt spid="15"/>
                                        </p:tgtEl>
                                        <p:attrNameLst>
                                          <p:attrName>style.visibility</p:attrName>
                                        </p:attrNameLst>
                                      </p:cBhvr>
                                      <p:to>
                                        <p:strVal val="visible"/>
                                      </p:to>
                                    </p:set>
                                    <p:animEffect transition="in" filter="wipe(up)">
                                      <p:cBhvr>
                                        <p:cTn id="17" dur="500"/>
                                        <p:tgtEl>
                                          <p:spTgt spid="15"/>
                                        </p:tgtEl>
                                      </p:cBhvr>
                                    </p:animEffect>
                                  </p:childTnLst>
                                </p:cTn>
                              </p:par>
                              <p:par>
                                <p:cTn id="18" presetID="47" presetClass="entr" presetSubtype="0" fill="hold" nodeType="withEffect">
                                  <p:stCondLst>
                                    <p:cond delay="50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anim calcmode="lin" valueType="num">
                                      <p:cBhvr>
                                        <p:cTn id="21" dur="500" fill="hold"/>
                                        <p:tgtEl>
                                          <p:spTgt spid="6"/>
                                        </p:tgtEl>
                                        <p:attrNameLst>
                                          <p:attrName>ppt_x</p:attrName>
                                        </p:attrNameLst>
                                      </p:cBhvr>
                                      <p:tavLst>
                                        <p:tav tm="0">
                                          <p:val>
                                            <p:strVal val="#ppt_x"/>
                                          </p:val>
                                        </p:tav>
                                        <p:tav tm="100000">
                                          <p:val>
                                            <p:strVal val="#ppt_x"/>
                                          </p:val>
                                        </p:tav>
                                      </p:tavLst>
                                    </p:anim>
                                    <p:anim calcmode="lin" valueType="num">
                                      <p:cBhvr>
                                        <p:cTn id="22" dur="500" fill="hold"/>
                                        <p:tgtEl>
                                          <p:spTgt spid="6"/>
                                        </p:tgtEl>
                                        <p:attrNameLst>
                                          <p:attrName>ppt_y</p:attrName>
                                        </p:attrNameLst>
                                      </p:cBhvr>
                                      <p:tavLst>
                                        <p:tav tm="0">
                                          <p:val>
                                            <p:strVal val="#ppt_y-.1"/>
                                          </p:val>
                                        </p:tav>
                                        <p:tav tm="100000">
                                          <p:val>
                                            <p:strVal val="#ppt_y"/>
                                          </p:val>
                                        </p:tav>
                                      </p:tavLst>
                                    </p:anim>
                                  </p:childTnLst>
                                </p:cTn>
                              </p:par>
                              <p:par>
                                <p:cTn id="23" presetID="22" presetClass="entr" presetSubtype="1" fill="hold" nodeType="withEffect">
                                  <p:stCondLst>
                                    <p:cond delay="500"/>
                                  </p:stCondLst>
                                  <p:childTnLst>
                                    <p:set>
                                      <p:cBhvr>
                                        <p:cTn id="24" dur="1" fill="hold">
                                          <p:stCondLst>
                                            <p:cond delay="0"/>
                                          </p:stCondLst>
                                        </p:cTn>
                                        <p:tgtEl>
                                          <p:spTgt spid="18"/>
                                        </p:tgtEl>
                                        <p:attrNameLst>
                                          <p:attrName>style.visibility</p:attrName>
                                        </p:attrNameLst>
                                      </p:cBhvr>
                                      <p:to>
                                        <p:strVal val="visible"/>
                                      </p:to>
                                    </p:set>
                                    <p:animEffect transition="in" filter="wipe(up)">
                                      <p:cBhvr>
                                        <p:cTn id="25" dur="500"/>
                                        <p:tgtEl>
                                          <p:spTgt spid="18"/>
                                        </p:tgtEl>
                                      </p:cBhvr>
                                    </p:animEffect>
                                  </p:childTnLst>
                                </p:cTn>
                              </p:par>
                              <p:par>
                                <p:cTn id="26" presetID="47" presetClass="entr" presetSubtype="0" fill="hold" nodeType="withEffect">
                                  <p:stCondLst>
                                    <p:cond delay="80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anim calcmode="lin" valueType="num">
                                      <p:cBhvr>
                                        <p:cTn id="29" dur="500" fill="hold"/>
                                        <p:tgtEl>
                                          <p:spTgt spid="9"/>
                                        </p:tgtEl>
                                        <p:attrNameLst>
                                          <p:attrName>ppt_x</p:attrName>
                                        </p:attrNameLst>
                                      </p:cBhvr>
                                      <p:tavLst>
                                        <p:tav tm="0">
                                          <p:val>
                                            <p:strVal val="#ppt_x"/>
                                          </p:val>
                                        </p:tav>
                                        <p:tav tm="100000">
                                          <p:val>
                                            <p:strVal val="#ppt_x"/>
                                          </p:val>
                                        </p:tav>
                                      </p:tavLst>
                                    </p:anim>
                                    <p:anim calcmode="lin" valueType="num">
                                      <p:cBhvr>
                                        <p:cTn id="30" dur="500" fill="hold"/>
                                        <p:tgtEl>
                                          <p:spTgt spid="9"/>
                                        </p:tgtEl>
                                        <p:attrNameLst>
                                          <p:attrName>ppt_y</p:attrName>
                                        </p:attrNameLst>
                                      </p:cBhvr>
                                      <p:tavLst>
                                        <p:tav tm="0">
                                          <p:val>
                                            <p:strVal val="#ppt_y-.1"/>
                                          </p:val>
                                        </p:tav>
                                        <p:tav tm="100000">
                                          <p:val>
                                            <p:strVal val="#ppt_y"/>
                                          </p:val>
                                        </p:tav>
                                      </p:tavLst>
                                    </p:anim>
                                  </p:childTnLst>
                                </p:cTn>
                              </p:par>
                              <p:par>
                                <p:cTn id="31" presetID="22" presetClass="entr" presetSubtype="1" fill="hold" nodeType="withEffect">
                                  <p:stCondLst>
                                    <p:cond delay="800"/>
                                  </p:stCondLst>
                                  <p:childTnLst>
                                    <p:set>
                                      <p:cBhvr>
                                        <p:cTn id="32" dur="1" fill="hold">
                                          <p:stCondLst>
                                            <p:cond delay="0"/>
                                          </p:stCondLst>
                                        </p:cTn>
                                        <p:tgtEl>
                                          <p:spTgt spid="21"/>
                                        </p:tgtEl>
                                        <p:attrNameLst>
                                          <p:attrName>style.visibility</p:attrName>
                                        </p:attrNameLst>
                                      </p:cBhvr>
                                      <p:to>
                                        <p:strVal val="visible"/>
                                      </p:to>
                                    </p:set>
                                    <p:animEffect transition="in" filter="wipe(up)">
                                      <p:cBhvr>
                                        <p:cTn id="33" dur="500"/>
                                        <p:tgtEl>
                                          <p:spTgt spid="21"/>
                                        </p:tgtEl>
                                      </p:cBhvr>
                                    </p:animEffect>
                                  </p:childTnLst>
                                </p:cTn>
                              </p:par>
                              <p:par>
                                <p:cTn id="34" presetID="22" presetClass="entr" presetSubtype="1" fill="hold" nodeType="withEffect">
                                  <p:stCondLst>
                                    <p:cond delay="1000"/>
                                  </p:stCondLst>
                                  <p:childTnLst>
                                    <p:set>
                                      <p:cBhvr>
                                        <p:cTn id="35" dur="1" fill="hold">
                                          <p:stCondLst>
                                            <p:cond delay="0"/>
                                          </p:stCondLst>
                                        </p:cTn>
                                        <p:tgtEl>
                                          <p:spTgt spid="24"/>
                                        </p:tgtEl>
                                        <p:attrNameLst>
                                          <p:attrName>style.visibility</p:attrName>
                                        </p:attrNameLst>
                                      </p:cBhvr>
                                      <p:to>
                                        <p:strVal val="visible"/>
                                      </p:to>
                                    </p:set>
                                    <p:animEffect transition="in" filter="wipe(up)">
                                      <p:cBhvr>
                                        <p:cTn id="3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组合 44"/>
          <p:cNvGrpSpPr/>
          <p:nvPr/>
        </p:nvGrpSpPr>
        <p:grpSpPr>
          <a:xfrm>
            <a:off x="465435" y="915566"/>
            <a:ext cx="6611640" cy="3687762"/>
            <a:chOff x="465435" y="1116236"/>
            <a:chExt cx="6611640" cy="3687762"/>
          </a:xfrm>
        </p:grpSpPr>
        <p:sp>
          <p:nvSpPr>
            <p:cNvPr id="3" name="Line 3"/>
            <p:cNvSpPr>
              <a:spLocks noChangeShapeType="1"/>
            </p:cNvSpPr>
            <p:nvPr/>
          </p:nvSpPr>
          <p:spPr bwMode="auto">
            <a:xfrm rot="10800000">
              <a:off x="981075" y="3914998"/>
              <a:ext cx="2381250"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 name="Line 4"/>
            <p:cNvSpPr>
              <a:spLocks noChangeShapeType="1"/>
            </p:cNvSpPr>
            <p:nvPr/>
          </p:nvSpPr>
          <p:spPr bwMode="auto">
            <a:xfrm rot="10800000">
              <a:off x="985838" y="3146648"/>
              <a:ext cx="3557587"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5" name="Line 5"/>
            <p:cNvSpPr>
              <a:spLocks noChangeShapeType="1"/>
            </p:cNvSpPr>
            <p:nvPr/>
          </p:nvSpPr>
          <p:spPr bwMode="auto">
            <a:xfrm rot="10800000">
              <a:off x="966788" y="2537048"/>
              <a:ext cx="4805362"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6" name="Line 6"/>
            <p:cNvSpPr>
              <a:spLocks noChangeShapeType="1"/>
            </p:cNvSpPr>
            <p:nvPr/>
          </p:nvSpPr>
          <p:spPr bwMode="auto">
            <a:xfrm rot="10800000">
              <a:off x="977900" y="1879823"/>
              <a:ext cx="5994400"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1" name="Line 13"/>
            <p:cNvSpPr>
              <a:spLocks noChangeShapeType="1"/>
            </p:cNvSpPr>
            <p:nvPr/>
          </p:nvSpPr>
          <p:spPr bwMode="auto">
            <a:xfrm>
              <a:off x="973138" y="4422998"/>
              <a:ext cx="6103937" cy="0"/>
            </a:xfrm>
            <a:prstGeom prst="line">
              <a:avLst/>
            </a:prstGeom>
            <a:noFill/>
            <a:ln w="9525">
              <a:solidFill>
                <a:schemeClr val="accent1"/>
              </a:solidFill>
              <a:round/>
              <a:tailEnd type="triangle" w="med" len="me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2" name="Line 14"/>
            <p:cNvSpPr>
              <a:spLocks noChangeShapeType="1"/>
            </p:cNvSpPr>
            <p:nvPr/>
          </p:nvSpPr>
          <p:spPr bwMode="auto">
            <a:xfrm rot="16200000">
              <a:off x="-681037" y="2770411"/>
              <a:ext cx="3308350" cy="0"/>
            </a:xfrm>
            <a:prstGeom prst="line">
              <a:avLst/>
            </a:prstGeom>
            <a:noFill/>
            <a:ln w="9525">
              <a:solidFill>
                <a:schemeClr val="accent1"/>
              </a:solidFill>
              <a:round/>
              <a:tailEnd type="triangle" w="med" len="me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4" name="Line 16"/>
            <p:cNvSpPr>
              <a:spLocks noChangeShapeType="1"/>
            </p:cNvSpPr>
            <p:nvPr/>
          </p:nvSpPr>
          <p:spPr bwMode="auto">
            <a:xfrm rot="16200000">
              <a:off x="264319" y="2771205"/>
              <a:ext cx="3309937"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5" name="Line 17"/>
            <p:cNvSpPr>
              <a:spLocks noChangeShapeType="1"/>
            </p:cNvSpPr>
            <p:nvPr/>
          </p:nvSpPr>
          <p:spPr bwMode="auto">
            <a:xfrm rot="16200000">
              <a:off x="1724819" y="2771205"/>
              <a:ext cx="3309937"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6" name="Line 18"/>
            <p:cNvSpPr>
              <a:spLocks noChangeShapeType="1"/>
            </p:cNvSpPr>
            <p:nvPr/>
          </p:nvSpPr>
          <p:spPr bwMode="auto">
            <a:xfrm rot="16200000">
              <a:off x="2912269" y="2771205"/>
              <a:ext cx="3309937"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17" name="Line 19"/>
            <p:cNvSpPr>
              <a:spLocks noChangeShapeType="1"/>
            </p:cNvSpPr>
            <p:nvPr/>
          </p:nvSpPr>
          <p:spPr bwMode="auto">
            <a:xfrm rot="16200000">
              <a:off x="4131469" y="2771205"/>
              <a:ext cx="3309937" cy="0"/>
            </a:xfrm>
            <a:prstGeom prst="line">
              <a:avLst/>
            </a:prstGeom>
            <a:noFill/>
            <a:ln w="9525">
              <a:solidFill>
                <a:srgbClr val="DDDDDD"/>
              </a:solidFill>
              <a:roun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40" name="Text Box 52"/>
            <p:cNvSpPr txBox="1">
              <a:spLocks noChangeArrowheads="1"/>
            </p:cNvSpPr>
            <p:nvPr/>
          </p:nvSpPr>
          <p:spPr bwMode="auto">
            <a:xfrm>
              <a:off x="465435" y="1131590"/>
              <a:ext cx="461665" cy="165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square">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marL="0" marR="0" lvl="0" indent="0" defTabSz="914400" eaLnBrk="1" fontAlgn="auto" latinLnBrk="0" hangingPunct="1">
                <a:lnSpc>
                  <a:spcPct val="100000"/>
                </a:lnSpc>
                <a:spcBef>
                  <a:spcPct val="50000"/>
                </a:spcBef>
                <a:spcAft>
                  <a:spcPts val="0"/>
                </a:spcAft>
                <a:buClrTx/>
                <a:buSzTx/>
                <a:buFontTx/>
                <a:buNone/>
                <a:defRPr/>
              </a:pPr>
              <a:r>
                <a:rPr kumimoji="0" lang="zh-CN" altLang="en-US" sz="1800" b="1" i="0" u="none" strike="noStrike" kern="0" cap="none" spc="0" normalizeH="0" baseline="0" noProof="0" dirty="0">
                  <a:ln>
                    <a:noFill/>
                  </a:ln>
                  <a:solidFill>
                    <a:srgbClr val="787878"/>
                  </a:solidFill>
                  <a:effectLst/>
                  <a:uLnTx/>
                  <a:uFillTx/>
                  <a:latin typeface="微软雅黑" panose="020B0503020204020204" pitchFamily="34" charset="-122"/>
                  <a:ea typeface="微软雅黑" panose="020B0503020204020204" pitchFamily="34" charset="-122"/>
                </a:rPr>
                <a:t>添加内容</a:t>
              </a:r>
            </a:p>
          </p:txBody>
        </p:sp>
        <p:sp>
          <p:nvSpPr>
            <p:cNvPr id="41" name="Text Box 53"/>
            <p:cNvSpPr txBox="1">
              <a:spLocks noChangeArrowheads="1"/>
            </p:cNvSpPr>
            <p:nvPr/>
          </p:nvSpPr>
          <p:spPr bwMode="auto">
            <a:xfrm>
              <a:off x="1543050" y="4437286"/>
              <a:ext cx="749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marL="0" marR="0" lvl="0" indent="0" defTabSz="914400" eaLnBrk="1" fontAlgn="auto" latinLnBrk="0" hangingPunct="1">
                <a:lnSpc>
                  <a:spcPct val="100000"/>
                </a:lnSpc>
                <a:spcBef>
                  <a:spcPct val="50000"/>
                </a:spcBef>
                <a:spcAft>
                  <a:spcPts val="0"/>
                </a:spcAft>
                <a:buClrTx/>
                <a:buSzTx/>
                <a:buFontTx/>
                <a:buNone/>
                <a:defRPr/>
              </a:pPr>
              <a:r>
                <a:rPr kumimoji="0" lang="en-US" altLang="zh-CN" sz="1800" i="0" u="none" strike="noStrike" kern="0" cap="none" spc="0" normalizeH="0" baseline="0" noProof="0" dirty="0">
                  <a:ln>
                    <a:noFill/>
                  </a:ln>
                  <a:solidFill>
                    <a:srgbClr val="787878"/>
                  </a:solidFill>
                  <a:effectLst/>
                  <a:uLnTx/>
                  <a:uFillTx/>
                  <a:latin typeface="Impact" panose="020B0806030902050204" pitchFamily="34" charset="0"/>
                  <a:ea typeface="微软雅黑" panose="020B0503020204020204" pitchFamily="34" charset="-122"/>
                </a:rPr>
                <a:t>2011</a:t>
              </a:r>
            </a:p>
          </p:txBody>
        </p:sp>
        <p:sp>
          <p:nvSpPr>
            <p:cNvPr id="42" name="Text Box 54"/>
            <p:cNvSpPr txBox="1">
              <a:spLocks noChangeArrowheads="1"/>
            </p:cNvSpPr>
            <p:nvPr/>
          </p:nvSpPr>
          <p:spPr bwMode="auto">
            <a:xfrm>
              <a:off x="3000375" y="4437286"/>
              <a:ext cx="749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marL="0" marR="0" lvl="0" indent="0" defTabSz="914400" eaLnBrk="1" fontAlgn="auto" latinLnBrk="0" hangingPunct="1">
                <a:lnSpc>
                  <a:spcPct val="100000"/>
                </a:lnSpc>
                <a:spcBef>
                  <a:spcPct val="50000"/>
                </a:spcBef>
                <a:spcAft>
                  <a:spcPts val="0"/>
                </a:spcAft>
                <a:buClrTx/>
                <a:buSzTx/>
                <a:buFontTx/>
                <a:buNone/>
                <a:defRPr/>
              </a:pPr>
              <a:r>
                <a:rPr kumimoji="0" lang="en-US" altLang="zh-CN" sz="1800" i="0" u="none" strike="noStrike" kern="0" cap="none" spc="0" normalizeH="0" baseline="0" noProof="0" dirty="0">
                  <a:ln>
                    <a:noFill/>
                  </a:ln>
                  <a:solidFill>
                    <a:srgbClr val="787878"/>
                  </a:solidFill>
                  <a:effectLst/>
                  <a:uLnTx/>
                  <a:uFillTx/>
                  <a:latin typeface="Impact" panose="020B0806030902050204" pitchFamily="34" charset="0"/>
                  <a:ea typeface="微软雅黑" panose="020B0503020204020204" pitchFamily="34" charset="-122"/>
                </a:rPr>
                <a:t>2012</a:t>
              </a:r>
            </a:p>
          </p:txBody>
        </p:sp>
        <p:sp>
          <p:nvSpPr>
            <p:cNvPr id="43" name="Text Box 55"/>
            <p:cNvSpPr txBox="1">
              <a:spLocks noChangeArrowheads="1"/>
            </p:cNvSpPr>
            <p:nvPr/>
          </p:nvSpPr>
          <p:spPr bwMode="auto">
            <a:xfrm>
              <a:off x="4191000" y="4437286"/>
              <a:ext cx="749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marL="0" marR="0" lvl="0" indent="0" defTabSz="914400" eaLnBrk="1" fontAlgn="auto" latinLnBrk="0" hangingPunct="1">
                <a:lnSpc>
                  <a:spcPct val="100000"/>
                </a:lnSpc>
                <a:spcBef>
                  <a:spcPct val="50000"/>
                </a:spcBef>
                <a:spcAft>
                  <a:spcPts val="0"/>
                </a:spcAft>
                <a:buClrTx/>
                <a:buSzTx/>
                <a:buFontTx/>
                <a:buNone/>
                <a:defRPr/>
              </a:pPr>
              <a:r>
                <a:rPr kumimoji="0" lang="en-US" altLang="zh-CN" sz="1800" i="0" u="none" strike="noStrike" kern="0" cap="none" spc="0" normalizeH="0" baseline="0" noProof="0" dirty="0" smtClean="0">
                  <a:ln>
                    <a:noFill/>
                  </a:ln>
                  <a:solidFill>
                    <a:srgbClr val="787878"/>
                  </a:solidFill>
                  <a:effectLst/>
                  <a:uLnTx/>
                  <a:uFillTx/>
                  <a:latin typeface="Impact" panose="020B0806030902050204" pitchFamily="34" charset="0"/>
                  <a:ea typeface="微软雅黑" panose="020B0503020204020204" pitchFamily="34" charset="-122"/>
                </a:rPr>
                <a:t>2019</a:t>
              </a:r>
              <a:endParaRPr kumimoji="0" lang="en-US" altLang="zh-CN" sz="1800" i="0" u="none" strike="noStrike" kern="0" cap="none" spc="0" normalizeH="0" baseline="0" noProof="0" dirty="0">
                <a:ln>
                  <a:noFill/>
                </a:ln>
                <a:solidFill>
                  <a:srgbClr val="787878"/>
                </a:solidFill>
                <a:effectLst/>
                <a:uLnTx/>
                <a:uFillTx/>
                <a:latin typeface="Impact" panose="020B0806030902050204" pitchFamily="34" charset="0"/>
                <a:ea typeface="微软雅黑" panose="020B0503020204020204" pitchFamily="34" charset="-122"/>
              </a:endParaRPr>
            </a:p>
          </p:txBody>
        </p:sp>
        <p:sp>
          <p:nvSpPr>
            <p:cNvPr id="44" name="Text Box 56"/>
            <p:cNvSpPr txBox="1">
              <a:spLocks noChangeArrowheads="1"/>
            </p:cNvSpPr>
            <p:nvPr/>
          </p:nvSpPr>
          <p:spPr bwMode="auto">
            <a:xfrm>
              <a:off x="5405438" y="4437286"/>
              <a:ext cx="7493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i="1">
                  <a:solidFill>
                    <a:schemeClr val="tx1"/>
                  </a:solidFill>
                  <a:latin typeface="Arial" panose="020B0604020202020204" pitchFamily="34" charset="0"/>
                  <a:ea typeface="华文细黑" panose="02010600040101010101" pitchFamily="2" charset="-122"/>
                </a:defRPr>
              </a:lvl1pPr>
              <a:lvl2pPr marL="742950" indent="-285750" eaLnBrk="0" hangingPunct="0">
                <a:defRPr i="1">
                  <a:solidFill>
                    <a:schemeClr val="tx1"/>
                  </a:solidFill>
                  <a:latin typeface="Arial" panose="020B0604020202020204" pitchFamily="34" charset="0"/>
                  <a:ea typeface="华文细黑" panose="02010600040101010101" pitchFamily="2" charset="-122"/>
                </a:defRPr>
              </a:lvl2pPr>
              <a:lvl3pPr marL="1143000" indent="-228600" eaLnBrk="0" hangingPunct="0">
                <a:defRPr i="1">
                  <a:solidFill>
                    <a:schemeClr val="tx1"/>
                  </a:solidFill>
                  <a:latin typeface="Arial" panose="020B0604020202020204" pitchFamily="34" charset="0"/>
                  <a:ea typeface="华文细黑" panose="02010600040101010101" pitchFamily="2" charset="-122"/>
                </a:defRPr>
              </a:lvl3pPr>
              <a:lvl4pPr marL="1600200" indent="-228600" eaLnBrk="0" hangingPunct="0">
                <a:defRPr i="1">
                  <a:solidFill>
                    <a:schemeClr val="tx1"/>
                  </a:solidFill>
                  <a:latin typeface="Arial" panose="020B0604020202020204" pitchFamily="34" charset="0"/>
                  <a:ea typeface="华文细黑" panose="02010600040101010101" pitchFamily="2" charset="-122"/>
                </a:defRPr>
              </a:lvl4pPr>
              <a:lvl5pPr marL="2057400" indent="-228600" eaLnBrk="0" hangingPunct="0">
                <a:defRPr i="1">
                  <a:solidFill>
                    <a:schemeClr val="tx1"/>
                  </a:solidFill>
                  <a:latin typeface="Arial" panose="020B0604020202020204" pitchFamily="34" charset="0"/>
                  <a:ea typeface="华文细黑" panose="02010600040101010101" pitchFamily="2" charset="-122"/>
                </a:defRPr>
              </a:lvl5pPr>
              <a:lvl6pPr marL="25146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6pPr>
              <a:lvl7pPr marL="29718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7pPr>
              <a:lvl8pPr marL="34290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8pPr>
              <a:lvl9pPr marL="3886200" indent="-228600" eaLnBrk="0" fontAlgn="base" hangingPunct="0">
                <a:spcBef>
                  <a:spcPct val="0"/>
                </a:spcBef>
                <a:spcAft>
                  <a:spcPct val="0"/>
                </a:spcAft>
                <a:defRPr i="1">
                  <a:solidFill>
                    <a:schemeClr val="tx1"/>
                  </a:solidFill>
                  <a:latin typeface="Arial" panose="020B0604020202020204" pitchFamily="34" charset="0"/>
                  <a:ea typeface="华文细黑" panose="02010600040101010101" pitchFamily="2" charset="-122"/>
                </a:defRPr>
              </a:lvl9pPr>
            </a:lstStyle>
            <a:p>
              <a:pPr marL="0" marR="0" lvl="0" indent="0" defTabSz="914400" eaLnBrk="1" fontAlgn="auto" latinLnBrk="0" hangingPunct="1">
                <a:lnSpc>
                  <a:spcPct val="100000"/>
                </a:lnSpc>
                <a:spcBef>
                  <a:spcPct val="50000"/>
                </a:spcBef>
                <a:spcAft>
                  <a:spcPts val="0"/>
                </a:spcAft>
                <a:buClrTx/>
                <a:buSzTx/>
                <a:buFontTx/>
                <a:buNone/>
                <a:defRPr/>
              </a:pPr>
              <a:r>
                <a:rPr kumimoji="0" lang="en-US" altLang="zh-CN" sz="1800" i="0" u="none" strike="noStrike" kern="0" cap="none" spc="0" normalizeH="0" baseline="0" noProof="0" dirty="0" smtClean="0">
                  <a:ln>
                    <a:noFill/>
                  </a:ln>
                  <a:solidFill>
                    <a:srgbClr val="787878"/>
                  </a:solidFill>
                  <a:effectLst/>
                  <a:uLnTx/>
                  <a:uFillTx/>
                  <a:latin typeface="Impact" panose="020B0806030902050204" pitchFamily="34" charset="0"/>
                  <a:ea typeface="微软雅黑" panose="020B0503020204020204" pitchFamily="34" charset="-122"/>
                </a:rPr>
                <a:t>20XX</a:t>
              </a:r>
              <a:endParaRPr kumimoji="0" lang="en-US" altLang="zh-CN" sz="1800" i="0" u="none" strike="noStrike" kern="0" cap="none" spc="0" normalizeH="0" baseline="0" noProof="0" dirty="0">
                <a:ln>
                  <a:noFill/>
                </a:ln>
                <a:solidFill>
                  <a:srgbClr val="787878"/>
                </a:solidFill>
                <a:effectLst/>
                <a:uLnTx/>
                <a:uFillTx/>
                <a:latin typeface="Impact" panose="020B0806030902050204" pitchFamily="34" charset="0"/>
                <a:ea typeface="微软雅黑" panose="020B0503020204020204" pitchFamily="34" charset="-122"/>
              </a:endParaRPr>
            </a:p>
          </p:txBody>
        </p:sp>
      </p:grpSp>
      <p:grpSp>
        <p:nvGrpSpPr>
          <p:cNvPr id="46" name="组合 45"/>
          <p:cNvGrpSpPr/>
          <p:nvPr/>
        </p:nvGrpSpPr>
        <p:grpSpPr>
          <a:xfrm>
            <a:off x="1914525" y="3711153"/>
            <a:ext cx="1466850" cy="517897"/>
            <a:chOff x="1914525" y="3911823"/>
            <a:chExt cx="1466850" cy="517897"/>
          </a:xfrm>
        </p:grpSpPr>
        <p:sp>
          <p:nvSpPr>
            <p:cNvPr id="10" name="Rectangle 12"/>
            <p:cNvSpPr>
              <a:spLocks noChangeArrowheads="1"/>
            </p:cNvSpPr>
            <p:nvPr/>
          </p:nvSpPr>
          <p:spPr bwMode="auto">
            <a:xfrm>
              <a:off x="1914525" y="3911823"/>
              <a:ext cx="1466850" cy="495300"/>
            </a:xfrm>
            <a:prstGeom prst="rect">
              <a:avLst/>
            </a:prstGeom>
            <a:solidFill>
              <a:srgbClr val="C5C5C5"/>
            </a:solidFill>
            <a:ln>
              <a:noFill/>
            </a:ln>
          </p:spPr>
          <p:txBody>
            <a:bodyPr wrap="none" anchor="ctr"/>
            <a:lstStyle/>
            <a:p>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6" name="Rectangle 48"/>
            <p:cNvSpPr>
              <a:spLocks noChangeArrowheads="1"/>
            </p:cNvSpPr>
            <p:nvPr/>
          </p:nvSpPr>
          <p:spPr bwMode="auto">
            <a:xfrm>
              <a:off x="1920875" y="3920132"/>
              <a:ext cx="1449388"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单击此处添加</a:t>
              </a:r>
            </a:p>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段落文字内容</a:t>
              </a:r>
            </a:p>
          </p:txBody>
        </p:sp>
      </p:grpSp>
      <p:grpSp>
        <p:nvGrpSpPr>
          <p:cNvPr id="47" name="组合 46"/>
          <p:cNvGrpSpPr/>
          <p:nvPr/>
        </p:nvGrpSpPr>
        <p:grpSpPr>
          <a:xfrm>
            <a:off x="3376613" y="2945978"/>
            <a:ext cx="1198562" cy="509587"/>
            <a:chOff x="3376613" y="3146648"/>
            <a:chExt cx="1198562" cy="509587"/>
          </a:xfrm>
        </p:grpSpPr>
        <p:sp>
          <p:nvSpPr>
            <p:cNvPr id="9" name="Rectangle 11"/>
            <p:cNvSpPr>
              <a:spLocks noChangeArrowheads="1"/>
            </p:cNvSpPr>
            <p:nvPr/>
          </p:nvSpPr>
          <p:spPr bwMode="auto">
            <a:xfrm>
              <a:off x="3381375" y="3151644"/>
              <a:ext cx="1185863" cy="495300"/>
            </a:xfrm>
            <a:prstGeom prst="rect">
              <a:avLst/>
            </a:prstGeom>
            <a:solidFill>
              <a:srgbClr val="C5C5C5"/>
            </a:solidFill>
            <a:ln>
              <a:noFill/>
            </a:ln>
          </p:spPr>
          <p:txBody>
            <a:bodyPr wrap="none" anchor="ctr"/>
            <a:lstStyle/>
            <a:p>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7" name="Rectangle 49"/>
            <p:cNvSpPr>
              <a:spLocks noChangeArrowheads="1"/>
            </p:cNvSpPr>
            <p:nvPr/>
          </p:nvSpPr>
          <p:spPr bwMode="auto">
            <a:xfrm>
              <a:off x="3376613" y="3146648"/>
              <a:ext cx="1198562"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单击此处添加</a:t>
              </a:r>
            </a:p>
            <a:p>
              <a:pPr marL="0" marR="0" lvl="0" indent="0" algn="ctr" defTabSz="914400" eaLnBrk="1" fontAlgn="auto" latinLnBrk="0" hangingPunct="1">
                <a:lnSpc>
                  <a:spcPct val="150000"/>
                </a:lnSpc>
                <a:spcBef>
                  <a:spcPts val="0"/>
                </a:spcBef>
                <a:spcAft>
                  <a:spcPts val="0"/>
                </a:spcAft>
                <a:buClrTx/>
                <a:buSzTx/>
                <a:buFontTx/>
                <a:buNone/>
                <a:defRPr/>
              </a:pPr>
              <a:r>
                <a:rPr kumimoji="0" lang="zh-CN" altLang="en-US" sz="1000" b="0" i="0" u="none" strike="noStrike" kern="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rPr>
                <a:t>段落文字内容</a:t>
              </a:r>
            </a:p>
          </p:txBody>
        </p:sp>
      </p:grpSp>
      <p:grpSp>
        <p:nvGrpSpPr>
          <p:cNvPr id="48" name="组合 47"/>
          <p:cNvGrpSpPr/>
          <p:nvPr/>
        </p:nvGrpSpPr>
        <p:grpSpPr>
          <a:xfrm>
            <a:off x="4567238" y="2330028"/>
            <a:ext cx="1219200" cy="515939"/>
            <a:chOff x="4567238" y="2530698"/>
            <a:chExt cx="1219200" cy="515939"/>
          </a:xfrm>
        </p:grpSpPr>
        <p:sp>
          <p:nvSpPr>
            <p:cNvPr id="8" name="Rectangle 10"/>
            <p:cNvSpPr>
              <a:spLocks noChangeArrowheads="1"/>
            </p:cNvSpPr>
            <p:nvPr/>
          </p:nvSpPr>
          <p:spPr bwMode="auto">
            <a:xfrm>
              <a:off x="4567238" y="2530698"/>
              <a:ext cx="1219200" cy="495300"/>
            </a:xfrm>
            <a:prstGeom prst="rect">
              <a:avLst/>
            </a:prstGeom>
            <a:solidFill>
              <a:srgbClr val="C5C5C5"/>
            </a:solidFill>
            <a:ln>
              <a:noFill/>
            </a:ln>
          </p:spPr>
          <p:txBody>
            <a:bodyPr wrap="none" anchor="ctr"/>
            <a:lstStyle/>
            <a:p>
              <a:endParaRPr lang="zh-CN" altLang="en-US" kern="0" dirty="0">
                <a:solidFill>
                  <a:sysClr val="windowText" lastClr="000000"/>
                </a:solidFill>
                <a:latin typeface="微软雅黑" panose="020B0503020204020204" pitchFamily="34" charset="-122"/>
                <a:ea typeface="微软雅黑" panose="020B0503020204020204" pitchFamily="34" charset="-122"/>
              </a:endParaRPr>
            </a:p>
          </p:txBody>
        </p:sp>
        <p:sp>
          <p:nvSpPr>
            <p:cNvPr id="38" name="Rectangle 50"/>
            <p:cNvSpPr>
              <a:spLocks noChangeArrowheads="1"/>
            </p:cNvSpPr>
            <p:nvPr/>
          </p:nvSpPr>
          <p:spPr bwMode="auto">
            <a:xfrm>
              <a:off x="4573588" y="2537049"/>
              <a:ext cx="1198562"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单击此处添加</a:t>
              </a:r>
            </a:p>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段落文字内容</a:t>
              </a:r>
            </a:p>
          </p:txBody>
        </p:sp>
      </p:grpSp>
      <p:grpSp>
        <p:nvGrpSpPr>
          <p:cNvPr id="49" name="组合 48"/>
          <p:cNvGrpSpPr/>
          <p:nvPr/>
        </p:nvGrpSpPr>
        <p:grpSpPr>
          <a:xfrm>
            <a:off x="5778500" y="1675184"/>
            <a:ext cx="1219200" cy="509587"/>
            <a:chOff x="5778500" y="1875854"/>
            <a:chExt cx="1219200" cy="509587"/>
          </a:xfrm>
        </p:grpSpPr>
        <p:sp>
          <p:nvSpPr>
            <p:cNvPr id="7" name="Rectangle 9"/>
            <p:cNvSpPr>
              <a:spLocks noChangeArrowheads="1"/>
            </p:cNvSpPr>
            <p:nvPr/>
          </p:nvSpPr>
          <p:spPr bwMode="auto">
            <a:xfrm>
              <a:off x="5778500" y="1882998"/>
              <a:ext cx="1219200" cy="495300"/>
            </a:xfrm>
            <a:prstGeom prst="rect">
              <a:avLst/>
            </a:prstGeom>
            <a:solidFill>
              <a:srgbClr val="C5C5C5"/>
            </a:solidFill>
            <a:ln>
              <a:noFill/>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sp>
          <p:nvSpPr>
            <p:cNvPr id="39" name="Rectangle 51"/>
            <p:cNvSpPr>
              <a:spLocks noChangeArrowheads="1"/>
            </p:cNvSpPr>
            <p:nvPr/>
          </p:nvSpPr>
          <p:spPr bwMode="auto">
            <a:xfrm>
              <a:off x="5786438" y="1875854"/>
              <a:ext cx="1198562" cy="509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单击此处添加</a:t>
              </a:r>
            </a:p>
            <a:p>
              <a:pPr algn="ctr">
                <a:lnSpc>
                  <a:spcPct val="150000"/>
                </a:lnSpc>
              </a:pPr>
              <a:r>
                <a:rPr lang="zh-CN" altLang="en-US" sz="1000" kern="0" dirty="0">
                  <a:solidFill>
                    <a:schemeClr val="bg1"/>
                  </a:solidFill>
                  <a:latin typeface="微软雅黑" panose="020B0503020204020204" pitchFamily="34" charset="-122"/>
                  <a:ea typeface="微软雅黑" panose="020B0503020204020204" pitchFamily="34" charset="-122"/>
                </a:rPr>
                <a:t>段落文字内容</a:t>
              </a:r>
            </a:p>
          </p:txBody>
        </p:sp>
      </p:grpSp>
      <p:sp>
        <p:nvSpPr>
          <p:cNvPr id="2" name="标题 1"/>
          <p:cNvSpPr>
            <a:spLocks noGrp="1"/>
          </p:cNvSpPr>
          <p:nvPr>
            <p:ph type="title"/>
          </p:nvPr>
        </p:nvSpPr>
        <p:spPr/>
        <p:txBody>
          <a:bodyPr/>
          <a:lstStyle/>
          <a:p>
            <a:r>
              <a:rPr lang="zh-CN" altLang="en-US" dirty="0"/>
              <a:t>发展历史</a:t>
            </a:r>
          </a:p>
        </p:txBody>
      </p:sp>
      <p:sp>
        <p:nvSpPr>
          <p:cNvPr id="13" name="Line 15"/>
          <p:cNvSpPr>
            <a:spLocks noChangeShapeType="1"/>
          </p:cNvSpPr>
          <p:nvPr/>
        </p:nvSpPr>
        <p:spPr bwMode="auto">
          <a:xfrm flipV="1">
            <a:off x="976313" y="966366"/>
            <a:ext cx="6103937" cy="3248025"/>
          </a:xfrm>
          <a:prstGeom prst="line">
            <a:avLst/>
          </a:prstGeom>
          <a:noFill/>
          <a:ln w="38100">
            <a:solidFill>
              <a:schemeClr val="accent1"/>
            </a:solidFill>
            <a:round/>
            <a:tailEnd type="triangle" w="med" len="med"/>
          </a:ln>
          <a:extLst>
            <a:ext uri="{909E8E84-426E-40DD-AFC4-6F175D3DCCD1}">
              <a14:hiddenFill xmlns:a14="http://schemas.microsoft.com/office/drawing/2010/main">
                <a:noFill/>
              </a14:hiddenFill>
            </a:ext>
          </a:extLst>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sysClr val="windowText" lastClr="000000"/>
              </a:solidFill>
              <a:effectLst/>
              <a:uLnTx/>
              <a:uFillTx/>
              <a:latin typeface="微软雅黑" panose="020B0503020204020204" pitchFamily="34" charset="-122"/>
              <a:ea typeface="微软雅黑" panose="020B0503020204020204" pitchFamily="34" charset="-122"/>
            </a:endParaRPr>
          </a:p>
        </p:txBody>
      </p:sp>
      <p:grpSp>
        <p:nvGrpSpPr>
          <p:cNvPr id="18" name="Group 20"/>
          <p:cNvGrpSpPr/>
          <p:nvPr/>
        </p:nvGrpSpPr>
        <p:grpSpPr bwMode="auto">
          <a:xfrm>
            <a:off x="1684338" y="3503191"/>
            <a:ext cx="479425" cy="466725"/>
            <a:chOff x="0" y="0"/>
            <a:chExt cx="784" cy="765"/>
          </a:xfrm>
        </p:grpSpPr>
        <p:grpSp>
          <p:nvGrpSpPr>
            <p:cNvPr id="19" name="Group 22"/>
            <p:cNvGrpSpPr/>
            <p:nvPr/>
          </p:nvGrpSpPr>
          <p:grpSpPr bwMode="auto">
            <a:xfrm>
              <a:off x="0" y="0"/>
              <a:ext cx="784" cy="765"/>
              <a:chOff x="0" y="0"/>
              <a:chExt cx="1042" cy="1019"/>
            </a:xfrm>
          </p:grpSpPr>
          <p:pic>
            <p:nvPicPr>
              <p:cNvPr id="21" name="Picture 23" descr="circuler_1"/>
              <p:cNvPicPr>
                <a:picLocks noChangeAspect="1" noChangeArrowheads="1"/>
              </p:cNvPicPr>
              <p:nvPr/>
            </p:nvPicPr>
            <p:blipFill>
              <a:blip r:embed="rId3" cstate="screen"/>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Oval 24"/>
              <p:cNvSpPr>
                <a:spLocks noChangeArrowheads="1"/>
              </p:cNvSpPr>
              <p:nvPr/>
            </p:nvSpPr>
            <p:spPr bwMode="auto">
              <a:xfrm>
                <a:off x="0" y="0"/>
                <a:ext cx="1035" cy="1019"/>
              </a:xfrm>
              <a:prstGeom prst="ellipse">
                <a:avLst/>
              </a:prstGeom>
              <a:solidFill>
                <a:srgbClr val="8E8E8E"/>
              </a:solidFill>
              <a:ln w="19050">
                <a:solidFill>
                  <a:srgbClr val="FFFFFF"/>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i="0" u="none" strike="noStrike" kern="0" cap="none" spc="0" normalizeH="0" baseline="0" noProof="0" dirty="0">
                  <a:solidFill>
                    <a:schemeClr val="bg1"/>
                  </a:solidFill>
                  <a:effectLst/>
                  <a:uLnTx/>
                  <a:uFillTx/>
                  <a:latin typeface="Impact" panose="020B0806030902050204" pitchFamily="34" charset="0"/>
                  <a:ea typeface="微软雅黑" panose="020B0503020204020204" pitchFamily="34" charset="-122"/>
                </a:endParaRPr>
              </a:p>
            </p:txBody>
          </p:sp>
        </p:grpSp>
        <p:sp>
          <p:nvSpPr>
            <p:cNvPr id="20" name="WordArt 26"/>
            <p:cNvSpPr>
              <a:spLocks noChangeArrowheads="1" noChangeShapeType="1"/>
            </p:cNvSpPr>
            <p:nvPr/>
          </p:nvSpPr>
          <p:spPr bwMode="auto">
            <a:xfrm>
              <a:off x="288" y="227"/>
              <a:ext cx="157" cy="299"/>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rPr>
                <a:t>1</a:t>
              </a:r>
              <a:endParaRPr kumimoji="0" lang="zh-CN" altLang="en-US"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endParaRPr>
            </a:p>
          </p:txBody>
        </p:sp>
      </p:grpSp>
      <p:grpSp>
        <p:nvGrpSpPr>
          <p:cNvPr id="23" name="Group 27"/>
          <p:cNvGrpSpPr/>
          <p:nvPr/>
        </p:nvGrpSpPr>
        <p:grpSpPr bwMode="auto">
          <a:xfrm>
            <a:off x="3133725" y="2661816"/>
            <a:ext cx="479425" cy="466725"/>
            <a:chOff x="0" y="0"/>
            <a:chExt cx="302" cy="294"/>
          </a:xfrm>
        </p:grpSpPr>
        <p:grpSp>
          <p:nvGrpSpPr>
            <p:cNvPr id="24" name="Group 29"/>
            <p:cNvGrpSpPr/>
            <p:nvPr/>
          </p:nvGrpSpPr>
          <p:grpSpPr bwMode="auto">
            <a:xfrm>
              <a:off x="0" y="0"/>
              <a:ext cx="302" cy="294"/>
              <a:chOff x="0" y="0"/>
              <a:chExt cx="1042" cy="1019"/>
            </a:xfrm>
          </p:grpSpPr>
          <p:pic>
            <p:nvPicPr>
              <p:cNvPr id="26" name="Picture 30" descr="circuler_1"/>
              <p:cNvPicPr>
                <a:picLocks noChangeAspect="1" noChangeArrowheads="1"/>
              </p:cNvPicPr>
              <p:nvPr/>
            </p:nvPicPr>
            <p:blipFill>
              <a:blip r:embed="rId3" cstate="screen"/>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Oval 31"/>
              <p:cNvSpPr>
                <a:spLocks noChangeArrowheads="1"/>
              </p:cNvSpPr>
              <p:nvPr/>
            </p:nvSpPr>
            <p:spPr bwMode="auto">
              <a:xfrm>
                <a:off x="0" y="0"/>
                <a:ext cx="1035" cy="1019"/>
              </a:xfrm>
              <a:prstGeom prst="ellipse">
                <a:avLst/>
              </a:prstGeom>
              <a:solidFill>
                <a:srgbClr val="8E8E8E"/>
              </a:solidFill>
              <a:ln w="19050">
                <a:solidFill>
                  <a:srgbClr val="FFFFFF"/>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i="0" u="none" strike="noStrike" kern="0" cap="none" spc="0" normalizeH="0" baseline="0" noProof="0" dirty="0">
                  <a:solidFill>
                    <a:schemeClr val="bg1"/>
                  </a:solidFill>
                  <a:effectLst/>
                  <a:uLnTx/>
                  <a:uFillTx/>
                  <a:latin typeface="Impact" panose="020B0806030902050204" pitchFamily="34" charset="0"/>
                  <a:ea typeface="微软雅黑" panose="020B0503020204020204" pitchFamily="34" charset="-122"/>
                </a:endParaRPr>
              </a:p>
            </p:txBody>
          </p:sp>
        </p:grpSp>
        <p:sp>
          <p:nvSpPr>
            <p:cNvPr id="25" name="WordArt 33"/>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rPr>
                <a:t>2</a:t>
              </a:r>
              <a:endParaRPr kumimoji="0" lang="zh-CN" altLang="en-US"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endParaRPr>
            </a:p>
          </p:txBody>
        </p:sp>
      </p:grpSp>
      <p:grpSp>
        <p:nvGrpSpPr>
          <p:cNvPr id="28" name="Group 34"/>
          <p:cNvGrpSpPr/>
          <p:nvPr/>
        </p:nvGrpSpPr>
        <p:grpSpPr bwMode="auto">
          <a:xfrm>
            <a:off x="4264025" y="2018878"/>
            <a:ext cx="605563" cy="593725"/>
            <a:chOff x="0" y="0"/>
            <a:chExt cx="300" cy="294"/>
          </a:xfrm>
        </p:grpSpPr>
        <p:sp>
          <p:nvSpPr>
            <p:cNvPr id="29" name="Oval 38"/>
            <p:cNvSpPr>
              <a:spLocks noChangeArrowheads="1"/>
            </p:cNvSpPr>
            <p:nvPr/>
          </p:nvSpPr>
          <p:spPr bwMode="auto">
            <a:xfrm>
              <a:off x="0" y="0"/>
              <a:ext cx="300" cy="294"/>
            </a:xfrm>
            <a:prstGeom prst="ellipse">
              <a:avLst/>
            </a:prstGeom>
            <a:solidFill>
              <a:schemeClr val="accent1"/>
            </a:solidFill>
            <a:ln w="9525">
              <a:noFill/>
              <a:round/>
            </a:ln>
            <a:effectLst/>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32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endParaRPr>
            </a:p>
          </p:txBody>
        </p:sp>
        <p:sp>
          <p:nvSpPr>
            <p:cNvPr id="30" name="WordArt 40"/>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b="0" i="0" u="none" strike="noStrike" kern="10" cap="none" spc="0" normalizeH="0" baseline="0" noProof="0" dirty="0">
                  <a:ln w="9525">
                    <a:noFill/>
                    <a:round/>
                  </a:ln>
                  <a:solidFill>
                    <a:srgbClr val="FFFFFF"/>
                  </a:solidFill>
                  <a:effectLst/>
                  <a:uLnTx/>
                  <a:uFillTx/>
                  <a:latin typeface="Impact" panose="020B0806030902050204" pitchFamily="34" charset="0"/>
                  <a:ea typeface="微软雅黑" panose="020B0503020204020204" pitchFamily="34" charset="-122"/>
                </a:rPr>
                <a:t>3</a:t>
              </a:r>
              <a:endParaRPr kumimoji="0" lang="zh-CN" altLang="en-US" sz="2400" b="0" i="0" u="none" strike="noStrike" kern="10" cap="none" spc="0" normalizeH="0" baseline="0" noProof="0" dirty="0">
                <a:ln w="9525">
                  <a:noFill/>
                  <a:round/>
                </a:ln>
                <a:solidFill>
                  <a:srgbClr val="FFFFFF"/>
                </a:solidFill>
                <a:effectLst/>
                <a:uLnTx/>
                <a:uFillTx/>
                <a:latin typeface="Impact" panose="020B0806030902050204" pitchFamily="34" charset="0"/>
                <a:ea typeface="微软雅黑" panose="020B0503020204020204" pitchFamily="34" charset="-122"/>
              </a:endParaRPr>
            </a:p>
          </p:txBody>
        </p:sp>
      </p:grpSp>
      <p:grpSp>
        <p:nvGrpSpPr>
          <p:cNvPr id="31" name="Group 41"/>
          <p:cNvGrpSpPr/>
          <p:nvPr/>
        </p:nvGrpSpPr>
        <p:grpSpPr bwMode="auto">
          <a:xfrm>
            <a:off x="5556250" y="1426741"/>
            <a:ext cx="479425" cy="466725"/>
            <a:chOff x="0" y="0"/>
            <a:chExt cx="302" cy="294"/>
          </a:xfrm>
        </p:grpSpPr>
        <p:grpSp>
          <p:nvGrpSpPr>
            <p:cNvPr id="32" name="Group 43"/>
            <p:cNvGrpSpPr/>
            <p:nvPr/>
          </p:nvGrpSpPr>
          <p:grpSpPr bwMode="auto">
            <a:xfrm>
              <a:off x="0" y="0"/>
              <a:ext cx="302" cy="294"/>
              <a:chOff x="0" y="0"/>
              <a:chExt cx="1042" cy="1019"/>
            </a:xfrm>
          </p:grpSpPr>
          <p:pic>
            <p:nvPicPr>
              <p:cNvPr id="34" name="Picture 44" descr="circuler_1"/>
              <p:cNvPicPr>
                <a:picLocks noChangeAspect="1" noChangeArrowheads="1"/>
              </p:cNvPicPr>
              <p:nvPr/>
            </p:nvPicPr>
            <p:blipFill>
              <a:blip r:embed="rId3" cstate="screen"/>
              <a:srcRect/>
              <a:stretch>
                <a:fillRect/>
              </a:stretch>
            </p:blipFill>
            <p:spPr bwMode="auto">
              <a:xfrm>
                <a:off x="0" y="0"/>
                <a:ext cx="1042" cy="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val 45"/>
              <p:cNvSpPr>
                <a:spLocks noChangeArrowheads="1"/>
              </p:cNvSpPr>
              <p:nvPr/>
            </p:nvSpPr>
            <p:spPr bwMode="auto">
              <a:xfrm>
                <a:off x="0" y="0"/>
                <a:ext cx="1035" cy="1019"/>
              </a:xfrm>
              <a:prstGeom prst="ellipse">
                <a:avLst/>
              </a:prstGeom>
              <a:solidFill>
                <a:srgbClr val="8E8E8E"/>
              </a:solidFill>
              <a:ln w="19050">
                <a:solidFill>
                  <a:srgbClr val="FFFFFF"/>
                </a:solidFill>
                <a:rou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i="0" u="none" strike="noStrike" kern="0" cap="none" spc="0" normalizeH="0" baseline="0" noProof="0" dirty="0">
                  <a:solidFill>
                    <a:schemeClr val="bg1"/>
                  </a:solidFill>
                  <a:effectLst/>
                  <a:uLnTx/>
                  <a:uFillTx/>
                  <a:latin typeface="Impact" panose="020B0806030902050204" pitchFamily="34" charset="0"/>
                  <a:ea typeface="微软雅黑" panose="020B0503020204020204" pitchFamily="34" charset="-122"/>
                </a:endParaRPr>
              </a:p>
            </p:txBody>
          </p:sp>
        </p:grpSp>
        <p:sp>
          <p:nvSpPr>
            <p:cNvPr id="33" name="WordArt 47"/>
            <p:cNvSpPr>
              <a:spLocks noChangeArrowheads="1" noChangeShapeType="1"/>
            </p:cNvSpPr>
            <p:nvPr/>
          </p:nvSpPr>
          <p:spPr bwMode="auto">
            <a:xfrm>
              <a:off x="111" y="87"/>
              <a:ext cx="78" cy="115"/>
            </a:xfrm>
            <a:prstGeom prst="rect">
              <a:avLst/>
            </a:prstGeom>
          </p:spPr>
          <p:txBody>
            <a:bodyPr wrap="none" fromWordArt="1">
              <a:prstTxWarp prst="textPlain">
                <a:avLst>
                  <a:gd name="adj" fmla="val 50000"/>
                </a:avLst>
              </a:prstTxWarp>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rPr>
                <a:t>4</a:t>
              </a:r>
              <a:endParaRPr kumimoji="0" lang="zh-CN" altLang="en-US" sz="2400" i="0" u="none" strike="noStrike" kern="10" cap="none" spc="0" normalizeH="0" baseline="0" noProof="0" dirty="0">
                <a:ln w="9525">
                  <a:noFill/>
                  <a:round/>
                </a:ln>
                <a:solidFill>
                  <a:schemeClr val="bg1"/>
                </a:solidFill>
                <a:effectLst/>
                <a:uLnTx/>
                <a:uFillTx/>
                <a:latin typeface="Impact" panose="020B0806030902050204" pitchFamily="34" charset="0"/>
                <a:ea typeface="微软雅黑" panose="020B0503020204020204" pitchFamily="34" charset="-122"/>
              </a:endParaRPr>
            </a:p>
          </p:txBody>
        </p:sp>
      </p:grpSp>
      <p:grpSp>
        <p:nvGrpSpPr>
          <p:cNvPr id="50" name="组合 49"/>
          <p:cNvGrpSpPr/>
          <p:nvPr/>
        </p:nvGrpSpPr>
        <p:grpSpPr>
          <a:xfrm>
            <a:off x="7092280" y="3040638"/>
            <a:ext cx="1728192" cy="1346666"/>
            <a:chOff x="7092280" y="3241308"/>
            <a:chExt cx="1728192" cy="1346666"/>
          </a:xfrm>
        </p:grpSpPr>
        <p:sp>
          <p:nvSpPr>
            <p:cNvPr id="52" name="TextBox 51"/>
            <p:cNvSpPr txBox="1"/>
            <p:nvPr/>
          </p:nvSpPr>
          <p:spPr>
            <a:xfrm>
              <a:off x="7104638" y="3241308"/>
              <a:ext cx="1415772" cy="338554"/>
            </a:xfrm>
            <a:prstGeom prst="rect">
              <a:avLst/>
            </a:prstGeom>
            <a:noFill/>
          </p:spPr>
          <p:txBody>
            <a:bodyPr wrap="none" rtlCol="0">
              <a:spAutoFit/>
            </a:bodyPr>
            <a:lstStyle/>
            <a:p>
              <a:r>
                <a:rPr lang="zh-CN" altLang="en-US" sz="1600" b="1" dirty="0">
                  <a:solidFill>
                    <a:schemeClr val="accent1"/>
                  </a:solidFill>
                </a:rPr>
                <a:t>单击添加标题</a:t>
              </a:r>
            </a:p>
          </p:txBody>
        </p:sp>
        <p:sp>
          <p:nvSpPr>
            <p:cNvPr id="53" name="TextBox 52"/>
            <p:cNvSpPr txBox="1"/>
            <p:nvPr/>
          </p:nvSpPr>
          <p:spPr>
            <a:xfrm>
              <a:off x="7092280" y="3572311"/>
              <a:ext cx="1728192" cy="1015663"/>
            </a:xfrm>
            <a:prstGeom prst="rect">
              <a:avLst/>
            </a:prstGeom>
            <a:noFill/>
          </p:spPr>
          <p:txBody>
            <a:bodyPr wrap="square" rtlCol="0">
              <a:spAutoFit/>
            </a:bodyPr>
            <a:lstStyle/>
            <a:p>
              <a:pPr>
                <a:lnSpc>
                  <a:spcPct val="150000"/>
                </a:lnSpc>
              </a:pPr>
              <a:r>
                <a:rPr lang="zh-CN" altLang="en-US" sz="1000" dirty="0">
                  <a:solidFill>
                    <a:srgbClr val="787878"/>
                  </a:solidFill>
                  <a:latin typeface="微软雅黑" panose="020B0503020204020204" pitchFamily="34" charset="-122"/>
                  <a:ea typeface="微软雅黑" panose="020B0503020204020204" pitchFamily="34" charset="-122"/>
                </a:rPr>
                <a:t>单击此处添加您的段落文本，单击此处添加您的段落文本，单击此处添加您的段落文本，单击此处添加您的段落文本。</a:t>
              </a:r>
            </a:p>
          </p:txBody>
        </p:sp>
      </p:grpSp>
    </p:spTree>
  </p:cSld>
  <p:clrMapOvr>
    <a:masterClrMapping/>
  </p:clrMapOvr>
  <p:transition spd="slow" advTm="4447">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wipe(left)">
                                      <p:cBhvr>
                                        <p:cTn id="11" dur="500"/>
                                        <p:tgtEl>
                                          <p:spTgt spid="13"/>
                                        </p:tgtEl>
                                      </p:cBhvr>
                                    </p:animEffect>
                                  </p:childTnLst>
                                </p:cTn>
                              </p:par>
                            </p:childTnLst>
                          </p:cTn>
                        </p:par>
                        <p:par>
                          <p:cTn id="12" fill="hold">
                            <p:stCondLst>
                              <p:cond delay="1000"/>
                            </p:stCondLst>
                            <p:childTnLst>
                              <p:par>
                                <p:cTn id="13" presetID="53" presetClass="entr" presetSubtype="16"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p:cTn id="15" dur="500" fill="hold"/>
                                        <p:tgtEl>
                                          <p:spTgt spid="18"/>
                                        </p:tgtEl>
                                        <p:attrNameLst>
                                          <p:attrName>ppt_w</p:attrName>
                                        </p:attrNameLst>
                                      </p:cBhvr>
                                      <p:tavLst>
                                        <p:tav tm="0">
                                          <p:val>
                                            <p:fltVal val="0"/>
                                          </p:val>
                                        </p:tav>
                                        <p:tav tm="100000">
                                          <p:val>
                                            <p:strVal val="#ppt_w"/>
                                          </p:val>
                                        </p:tav>
                                      </p:tavLst>
                                    </p:anim>
                                    <p:anim calcmode="lin" valueType="num">
                                      <p:cBhvr>
                                        <p:cTn id="16" dur="500" fill="hold"/>
                                        <p:tgtEl>
                                          <p:spTgt spid="18"/>
                                        </p:tgtEl>
                                        <p:attrNameLst>
                                          <p:attrName>ppt_h</p:attrName>
                                        </p:attrNameLst>
                                      </p:cBhvr>
                                      <p:tavLst>
                                        <p:tav tm="0">
                                          <p:val>
                                            <p:fltVal val="0"/>
                                          </p:val>
                                        </p:tav>
                                        <p:tav tm="100000">
                                          <p:val>
                                            <p:strVal val="#ppt_h"/>
                                          </p:val>
                                        </p:tav>
                                      </p:tavLst>
                                    </p:anim>
                                    <p:animEffect transition="in" filter="fade">
                                      <p:cBhvr>
                                        <p:cTn id="17" dur="500"/>
                                        <p:tgtEl>
                                          <p:spTgt spid="18"/>
                                        </p:tgtEl>
                                      </p:cBhvr>
                                    </p:animEffect>
                                  </p:childTnLst>
                                </p:cTn>
                              </p:par>
                              <p:par>
                                <p:cTn id="18" presetID="12" presetClass="entr" presetSubtype="8" fill="hold" nodeType="withEffect">
                                  <p:stCondLst>
                                    <p:cond delay="500"/>
                                  </p:stCondLst>
                                  <p:childTnLst>
                                    <p:set>
                                      <p:cBhvr>
                                        <p:cTn id="19" dur="1" fill="hold">
                                          <p:stCondLst>
                                            <p:cond delay="0"/>
                                          </p:stCondLst>
                                        </p:cTn>
                                        <p:tgtEl>
                                          <p:spTgt spid="46"/>
                                        </p:tgtEl>
                                        <p:attrNameLst>
                                          <p:attrName>style.visibility</p:attrName>
                                        </p:attrNameLst>
                                      </p:cBhvr>
                                      <p:to>
                                        <p:strVal val="visible"/>
                                      </p:to>
                                    </p:set>
                                    <p:anim calcmode="lin" valueType="num">
                                      <p:cBhvr additive="base">
                                        <p:cTn id="20" dur="500"/>
                                        <p:tgtEl>
                                          <p:spTgt spid="46"/>
                                        </p:tgtEl>
                                        <p:attrNameLst>
                                          <p:attrName>ppt_x</p:attrName>
                                        </p:attrNameLst>
                                      </p:cBhvr>
                                      <p:tavLst>
                                        <p:tav tm="0">
                                          <p:val>
                                            <p:strVal val="#ppt_x-#ppt_w*1.125000"/>
                                          </p:val>
                                        </p:tav>
                                        <p:tav tm="100000">
                                          <p:val>
                                            <p:strVal val="#ppt_x"/>
                                          </p:val>
                                        </p:tav>
                                      </p:tavLst>
                                    </p:anim>
                                    <p:animEffect transition="in" filter="wipe(right)">
                                      <p:cBhvr>
                                        <p:cTn id="21" dur="500"/>
                                        <p:tgtEl>
                                          <p:spTgt spid="46"/>
                                        </p:tgtEl>
                                      </p:cBhvr>
                                    </p:animEffect>
                                  </p:childTnLst>
                                </p:cTn>
                              </p:par>
                              <p:par>
                                <p:cTn id="22" presetID="53" presetClass="entr" presetSubtype="16" fill="hold" nodeType="withEffect">
                                  <p:stCondLst>
                                    <p:cond delay="200"/>
                                  </p:stCondLst>
                                  <p:childTnLst>
                                    <p:set>
                                      <p:cBhvr>
                                        <p:cTn id="23" dur="1" fill="hold">
                                          <p:stCondLst>
                                            <p:cond delay="0"/>
                                          </p:stCondLst>
                                        </p:cTn>
                                        <p:tgtEl>
                                          <p:spTgt spid="23"/>
                                        </p:tgtEl>
                                        <p:attrNameLst>
                                          <p:attrName>style.visibility</p:attrName>
                                        </p:attrNameLst>
                                      </p:cBhvr>
                                      <p:to>
                                        <p:strVal val="visible"/>
                                      </p:to>
                                    </p:set>
                                    <p:anim calcmode="lin" valueType="num">
                                      <p:cBhvr>
                                        <p:cTn id="24" dur="500" fill="hold"/>
                                        <p:tgtEl>
                                          <p:spTgt spid="23"/>
                                        </p:tgtEl>
                                        <p:attrNameLst>
                                          <p:attrName>ppt_w</p:attrName>
                                        </p:attrNameLst>
                                      </p:cBhvr>
                                      <p:tavLst>
                                        <p:tav tm="0">
                                          <p:val>
                                            <p:fltVal val="0"/>
                                          </p:val>
                                        </p:tav>
                                        <p:tav tm="100000">
                                          <p:val>
                                            <p:strVal val="#ppt_w"/>
                                          </p:val>
                                        </p:tav>
                                      </p:tavLst>
                                    </p:anim>
                                    <p:anim calcmode="lin" valueType="num">
                                      <p:cBhvr>
                                        <p:cTn id="25" dur="500" fill="hold"/>
                                        <p:tgtEl>
                                          <p:spTgt spid="23"/>
                                        </p:tgtEl>
                                        <p:attrNameLst>
                                          <p:attrName>ppt_h</p:attrName>
                                        </p:attrNameLst>
                                      </p:cBhvr>
                                      <p:tavLst>
                                        <p:tav tm="0">
                                          <p:val>
                                            <p:fltVal val="0"/>
                                          </p:val>
                                        </p:tav>
                                        <p:tav tm="100000">
                                          <p:val>
                                            <p:strVal val="#ppt_h"/>
                                          </p:val>
                                        </p:tav>
                                      </p:tavLst>
                                    </p:anim>
                                    <p:animEffect transition="in" filter="fade">
                                      <p:cBhvr>
                                        <p:cTn id="26" dur="500"/>
                                        <p:tgtEl>
                                          <p:spTgt spid="23"/>
                                        </p:tgtEl>
                                      </p:cBhvr>
                                    </p:animEffect>
                                  </p:childTnLst>
                                </p:cTn>
                              </p:par>
                              <p:par>
                                <p:cTn id="27" presetID="12" presetClass="entr" presetSubtype="8" fill="hold" nodeType="withEffect">
                                  <p:stCondLst>
                                    <p:cond delay="700"/>
                                  </p:stCondLst>
                                  <p:childTnLst>
                                    <p:set>
                                      <p:cBhvr>
                                        <p:cTn id="28" dur="1" fill="hold">
                                          <p:stCondLst>
                                            <p:cond delay="0"/>
                                          </p:stCondLst>
                                        </p:cTn>
                                        <p:tgtEl>
                                          <p:spTgt spid="47"/>
                                        </p:tgtEl>
                                        <p:attrNameLst>
                                          <p:attrName>style.visibility</p:attrName>
                                        </p:attrNameLst>
                                      </p:cBhvr>
                                      <p:to>
                                        <p:strVal val="visible"/>
                                      </p:to>
                                    </p:set>
                                    <p:anim calcmode="lin" valueType="num">
                                      <p:cBhvr additive="base">
                                        <p:cTn id="29" dur="500"/>
                                        <p:tgtEl>
                                          <p:spTgt spid="47"/>
                                        </p:tgtEl>
                                        <p:attrNameLst>
                                          <p:attrName>ppt_x</p:attrName>
                                        </p:attrNameLst>
                                      </p:cBhvr>
                                      <p:tavLst>
                                        <p:tav tm="0">
                                          <p:val>
                                            <p:strVal val="#ppt_x-#ppt_w*1.125000"/>
                                          </p:val>
                                        </p:tav>
                                        <p:tav tm="100000">
                                          <p:val>
                                            <p:strVal val="#ppt_x"/>
                                          </p:val>
                                        </p:tav>
                                      </p:tavLst>
                                    </p:anim>
                                    <p:animEffect transition="in" filter="wipe(right)">
                                      <p:cBhvr>
                                        <p:cTn id="30" dur="500"/>
                                        <p:tgtEl>
                                          <p:spTgt spid="47"/>
                                        </p:tgtEl>
                                      </p:cBhvr>
                                    </p:animEffect>
                                  </p:childTnLst>
                                </p:cTn>
                              </p:par>
                              <p:par>
                                <p:cTn id="31" presetID="53" presetClass="entr" presetSubtype="16" fill="hold" nodeType="withEffect">
                                  <p:stCondLst>
                                    <p:cond delay="300"/>
                                  </p:stCondLst>
                                  <p:childTnLst>
                                    <p:set>
                                      <p:cBhvr>
                                        <p:cTn id="32" dur="1" fill="hold">
                                          <p:stCondLst>
                                            <p:cond delay="0"/>
                                          </p:stCondLst>
                                        </p:cTn>
                                        <p:tgtEl>
                                          <p:spTgt spid="28"/>
                                        </p:tgtEl>
                                        <p:attrNameLst>
                                          <p:attrName>style.visibility</p:attrName>
                                        </p:attrNameLst>
                                      </p:cBhvr>
                                      <p:to>
                                        <p:strVal val="visible"/>
                                      </p:to>
                                    </p:set>
                                    <p:anim calcmode="lin" valueType="num">
                                      <p:cBhvr>
                                        <p:cTn id="33" dur="500" fill="hold"/>
                                        <p:tgtEl>
                                          <p:spTgt spid="28"/>
                                        </p:tgtEl>
                                        <p:attrNameLst>
                                          <p:attrName>ppt_w</p:attrName>
                                        </p:attrNameLst>
                                      </p:cBhvr>
                                      <p:tavLst>
                                        <p:tav tm="0">
                                          <p:val>
                                            <p:fltVal val="0"/>
                                          </p:val>
                                        </p:tav>
                                        <p:tav tm="100000">
                                          <p:val>
                                            <p:strVal val="#ppt_w"/>
                                          </p:val>
                                        </p:tav>
                                      </p:tavLst>
                                    </p:anim>
                                    <p:anim calcmode="lin" valueType="num">
                                      <p:cBhvr>
                                        <p:cTn id="34" dur="500" fill="hold"/>
                                        <p:tgtEl>
                                          <p:spTgt spid="28"/>
                                        </p:tgtEl>
                                        <p:attrNameLst>
                                          <p:attrName>ppt_h</p:attrName>
                                        </p:attrNameLst>
                                      </p:cBhvr>
                                      <p:tavLst>
                                        <p:tav tm="0">
                                          <p:val>
                                            <p:fltVal val="0"/>
                                          </p:val>
                                        </p:tav>
                                        <p:tav tm="100000">
                                          <p:val>
                                            <p:strVal val="#ppt_h"/>
                                          </p:val>
                                        </p:tav>
                                      </p:tavLst>
                                    </p:anim>
                                    <p:animEffect transition="in" filter="fade">
                                      <p:cBhvr>
                                        <p:cTn id="35" dur="500"/>
                                        <p:tgtEl>
                                          <p:spTgt spid="28"/>
                                        </p:tgtEl>
                                      </p:cBhvr>
                                    </p:animEffect>
                                  </p:childTnLst>
                                </p:cTn>
                              </p:par>
                              <p:par>
                                <p:cTn id="36" presetID="12" presetClass="entr" presetSubtype="8" fill="hold" nodeType="withEffect">
                                  <p:stCondLst>
                                    <p:cond delay="800"/>
                                  </p:stCondLst>
                                  <p:childTnLst>
                                    <p:set>
                                      <p:cBhvr>
                                        <p:cTn id="37" dur="1" fill="hold">
                                          <p:stCondLst>
                                            <p:cond delay="0"/>
                                          </p:stCondLst>
                                        </p:cTn>
                                        <p:tgtEl>
                                          <p:spTgt spid="48"/>
                                        </p:tgtEl>
                                        <p:attrNameLst>
                                          <p:attrName>style.visibility</p:attrName>
                                        </p:attrNameLst>
                                      </p:cBhvr>
                                      <p:to>
                                        <p:strVal val="visible"/>
                                      </p:to>
                                    </p:set>
                                    <p:anim calcmode="lin" valueType="num">
                                      <p:cBhvr additive="base">
                                        <p:cTn id="38" dur="500"/>
                                        <p:tgtEl>
                                          <p:spTgt spid="48"/>
                                        </p:tgtEl>
                                        <p:attrNameLst>
                                          <p:attrName>ppt_x</p:attrName>
                                        </p:attrNameLst>
                                      </p:cBhvr>
                                      <p:tavLst>
                                        <p:tav tm="0">
                                          <p:val>
                                            <p:strVal val="#ppt_x-#ppt_w*1.125000"/>
                                          </p:val>
                                        </p:tav>
                                        <p:tav tm="100000">
                                          <p:val>
                                            <p:strVal val="#ppt_x"/>
                                          </p:val>
                                        </p:tav>
                                      </p:tavLst>
                                    </p:anim>
                                    <p:animEffect transition="in" filter="wipe(right)">
                                      <p:cBhvr>
                                        <p:cTn id="39" dur="500"/>
                                        <p:tgtEl>
                                          <p:spTgt spid="48"/>
                                        </p:tgtEl>
                                      </p:cBhvr>
                                    </p:animEffect>
                                  </p:childTnLst>
                                </p:cTn>
                              </p:par>
                              <p:par>
                                <p:cTn id="40" presetID="53" presetClass="entr" presetSubtype="16" fill="hold" nodeType="withEffect">
                                  <p:stCondLst>
                                    <p:cond delay="400"/>
                                  </p:stCondLst>
                                  <p:childTnLst>
                                    <p:set>
                                      <p:cBhvr>
                                        <p:cTn id="41" dur="1" fill="hold">
                                          <p:stCondLst>
                                            <p:cond delay="0"/>
                                          </p:stCondLst>
                                        </p:cTn>
                                        <p:tgtEl>
                                          <p:spTgt spid="31"/>
                                        </p:tgtEl>
                                        <p:attrNameLst>
                                          <p:attrName>style.visibility</p:attrName>
                                        </p:attrNameLst>
                                      </p:cBhvr>
                                      <p:to>
                                        <p:strVal val="visible"/>
                                      </p:to>
                                    </p:set>
                                    <p:anim calcmode="lin" valueType="num">
                                      <p:cBhvr>
                                        <p:cTn id="42" dur="500" fill="hold"/>
                                        <p:tgtEl>
                                          <p:spTgt spid="31"/>
                                        </p:tgtEl>
                                        <p:attrNameLst>
                                          <p:attrName>ppt_w</p:attrName>
                                        </p:attrNameLst>
                                      </p:cBhvr>
                                      <p:tavLst>
                                        <p:tav tm="0">
                                          <p:val>
                                            <p:fltVal val="0"/>
                                          </p:val>
                                        </p:tav>
                                        <p:tav tm="100000">
                                          <p:val>
                                            <p:strVal val="#ppt_w"/>
                                          </p:val>
                                        </p:tav>
                                      </p:tavLst>
                                    </p:anim>
                                    <p:anim calcmode="lin" valueType="num">
                                      <p:cBhvr>
                                        <p:cTn id="43" dur="500" fill="hold"/>
                                        <p:tgtEl>
                                          <p:spTgt spid="31"/>
                                        </p:tgtEl>
                                        <p:attrNameLst>
                                          <p:attrName>ppt_h</p:attrName>
                                        </p:attrNameLst>
                                      </p:cBhvr>
                                      <p:tavLst>
                                        <p:tav tm="0">
                                          <p:val>
                                            <p:fltVal val="0"/>
                                          </p:val>
                                        </p:tav>
                                        <p:tav tm="100000">
                                          <p:val>
                                            <p:strVal val="#ppt_h"/>
                                          </p:val>
                                        </p:tav>
                                      </p:tavLst>
                                    </p:anim>
                                    <p:animEffect transition="in" filter="fade">
                                      <p:cBhvr>
                                        <p:cTn id="44" dur="500"/>
                                        <p:tgtEl>
                                          <p:spTgt spid="31"/>
                                        </p:tgtEl>
                                      </p:cBhvr>
                                    </p:animEffect>
                                  </p:childTnLst>
                                </p:cTn>
                              </p:par>
                              <p:par>
                                <p:cTn id="45" presetID="12" presetClass="entr" presetSubtype="8" fill="hold" nodeType="withEffect">
                                  <p:stCondLst>
                                    <p:cond delay="900"/>
                                  </p:stCondLst>
                                  <p:childTnLst>
                                    <p:set>
                                      <p:cBhvr>
                                        <p:cTn id="46" dur="1" fill="hold">
                                          <p:stCondLst>
                                            <p:cond delay="0"/>
                                          </p:stCondLst>
                                        </p:cTn>
                                        <p:tgtEl>
                                          <p:spTgt spid="49"/>
                                        </p:tgtEl>
                                        <p:attrNameLst>
                                          <p:attrName>style.visibility</p:attrName>
                                        </p:attrNameLst>
                                      </p:cBhvr>
                                      <p:to>
                                        <p:strVal val="visible"/>
                                      </p:to>
                                    </p:set>
                                    <p:anim calcmode="lin" valueType="num">
                                      <p:cBhvr additive="base">
                                        <p:cTn id="47" dur="500"/>
                                        <p:tgtEl>
                                          <p:spTgt spid="49"/>
                                        </p:tgtEl>
                                        <p:attrNameLst>
                                          <p:attrName>ppt_x</p:attrName>
                                        </p:attrNameLst>
                                      </p:cBhvr>
                                      <p:tavLst>
                                        <p:tav tm="0">
                                          <p:val>
                                            <p:strVal val="#ppt_x-#ppt_w*1.125000"/>
                                          </p:val>
                                        </p:tav>
                                        <p:tav tm="100000">
                                          <p:val>
                                            <p:strVal val="#ppt_x"/>
                                          </p:val>
                                        </p:tav>
                                      </p:tavLst>
                                    </p:anim>
                                    <p:animEffect transition="in" filter="wipe(right)">
                                      <p:cBhvr>
                                        <p:cTn id="48" dur="500"/>
                                        <p:tgtEl>
                                          <p:spTgt spid="49"/>
                                        </p:tgtEl>
                                      </p:cBhvr>
                                    </p:animEffect>
                                  </p:childTnLst>
                                </p:cTn>
                              </p:par>
                            </p:childTnLst>
                          </p:cTn>
                        </p:par>
                        <p:par>
                          <p:cTn id="49" fill="hold">
                            <p:stCondLst>
                              <p:cond delay="1500"/>
                            </p:stCondLst>
                            <p:childTnLst>
                              <p:par>
                                <p:cTn id="50" presetID="22" presetClass="entr" presetSubtype="8" fill="hold" nodeType="afterEffect">
                                  <p:stCondLst>
                                    <p:cond delay="0"/>
                                  </p:stCondLst>
                                  <p:childTnLst>
                                    <p:set>
                                      <p:cBhvr>
                                        <p:cTn id="51" dur="1" fill="hold">
                                          <p:stCondLst>
                                            <p:cond delay="0"/>
                                          </p:stCondLst>
                                        </p:cTn>
                                        <p:tgtEl>
                                          <p:spTgt spid="50"/>
                                        </p:tgtEl>
                                        <p:attrNameLst>
                                          <p:attrName>style.visibility</p:attrName>
                                        </p:attrNameLst>
                                      </p:cBhvr>
                                      <p:to>
                                        <p:strVal val="visible"/>
                                      </p:to>
                                    </p:set>
                                    <p:animEffect transition="in" filter="wipe(left)">
                                      <p:cBhvr>
                                        <p:cTn id="52"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组合 17"/>
          <p:cNvGrpSpPr/>
          <p:nvPr/>
        </p:nvGrpSpPr>
        <p:grpSpPr>
          <a:xfrm>
            <a:off x="251520" y="1923678"/>
            <a:ext cx="8524576" cy="2471738"/>
            <a:chOff x="251520" y="2427734"/>
            <a:chExt cx="8524576" cy="2471738"/>
          </a:xfrm>
        </p:grpSpPr>
        <p:pic>
          <p:nvPicPr>
            <p:cNvPr id="3" name="Picture 5" descr="10-1"/>
            <p:cNvPicPr>
              <a:picLocks noChangeAspect="1" noChangeArrowheads="1"/>
            </p:cNvPicPr>
            <p:nvPr/>
          </p:nvPicPr>
          <p:blipFill>
            <a:blip r:embed="rId3" cstate="screen">
              <a:biLevel thresh="75000"/>
              <a:extLst>
                <a:ext uri="{BEBA8EAE-BF5A-486C-A8C5-ECC9F3942E4B}">
                  <a14:imgProps xmlns:a14="http://schemas.microsoft.com/office/drawing/2010/main">
                    <a14:imgLayer r:embed="rId4">
                      <a14:imgEffect>
                        <a14:colorTemperature colorTemp="7200"/>
                      </a14:imgEffect>
                    </a14:imgLayer>
                  </a14:imgProps>
                </a:ext>
              </a:extLst>
            </a:blip>
            <a:srcRect/>
            <a:stretch>
              <a:fillRect/>
            </a:stretch>
          </p:blipFill>
          <p:spPr bwMode="auto">
            <a:xfrm>
              <a:off x="279152" y="2427734"/>
              <a:ext cx="8496944" cy="2471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a:xfrm>
              <a:off x="251520" y="3867894"/>
              <a:ext cx="8524576" cy="77336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787878"/>
                </a:solidFill>
              </a:endParaRPr>
            </a:p>
          </p:txBody>
        </p:sp>
        <p:sp>
          <p:nvSpPr>
            <p:cNvPr id="17" name="TextBox 16"/>
            <p:cNvSpPr txBox="1"/>
            <p:nvPr/>
          </p:nvSpPr>
          <p:spPr>
            <a:xfrm>
              <a:off x="395536" y="4116076"/>
              <a:ext cx="8102794" cy="276999"/>
            </a:xfrm>
            <a:prstGeom prst="rect">
              <a:avLst/>
            </a:prstGeom>
            <a:noFill/>
          </p:spPr>
          <p:txBody>
            <a:bodyPr wrap="square" rtlCol="0">
              <a:spAutoFit/>
            </a:bodyPr>
            <a:lstStyle/>
            <a:p>
              <a:pPr algn="ctr"/>
              <a:r>
                <a:rPr lang="zh-CN" altLang="en-US" sz="1200" dirty="0">
                  <a:solidFill>
                    <a:srgbClr val="787878"/>
                  </a:solidFill>
                  <a:latin typeface="微软雅黑" panose="020B0503020204020204" pitchFamily="34" charset="-122"/>
                  <a:ea typeface="微软雅黑" panose="020B0503020204020204" pitchFamily="34" charset="-122"/>
                </a:rPr>
                <a:t>单击此处添加您的段落文本，单击此处添加您的段落文本，单击此处添加您的段落文本，单击此处添加您的段落文本</a:t>
              </a:r>
            </a:p>
          </p:txBody>
        </p:sp>
      </p:grpSp>
      <p:sp>
        <p:nvSpPr>
          <p:cNvPr id="2" name="标题 1"/>
          <p:cNvSpPr>
            <a:spLocks noGrp="1"/>
          </p:cNvSpPr>
          <p:nvPr>
            <p:ph type="title"/>
          </p:nvPr>
        </p:nvSpPr>
        <p:spPr/>
        <p:txBody>
          <a:bodyPr/>
          <a:lstStyle/>
          <a:p>
            <a:r>
              <a:rPr lang="zh-CN" altLang="en-US" dirty="0"/>
              <a:t>大事记</a:t>
            </a:r>
          </a:p>
        </p:txBody>
      </p:sp>
      <p:grpSp>
        <p:nvGrpSpPr>
          <p:cNvPr id="19" name="组合 18"/>
          <p:cNvGrpSpPr/>
          <p:nvPr/>
        </p:nvGrpSpPr>
        <p:grpSpPr>
          <a:xfrm>
            <a:off x="539552" y="934961"/>
            <a:ext cx="1424637" cy="1276749"/>
            <a:chOff x="539552" y="1041903"/>
            <a:chExt cx="1424637" cy="1276749"/>
          </a:xfrm>
        </p:grpSpPr>
        <p:pic>
          <p:nvPicPr>
            <p:cNvPr id="4" name="图片 3"/>
            <p:cNvPicPr>
              <a:picLocks noChangeAspect="1"/>
            </p:cNvPicPr>
            <p:nvPr/>
          </p:nvPicPr>
          <p:blipFill rotWithShape="1">
            <a:blip r:embed="rId5" cstate="screen">
              <a:grayscl/>
            </a:blip>
            <a:srcRect/>
            <a:stretch>
              <a:fillRect/>
            </a:stretch>
          </p:blipFill>
          <p:spPr>
            <a:xfrm>
              <a:off x="539552" y="1355858"/>
              <a:ext cx="962794" cy="962794"/>
            </a:xfrm>
            <a:prstGeom prst="ellipse">
              <a:avLst/>
            </a:prstGeom>
            <a:ln w="28575">
              <a:solidFill>
                <a:schemeClr val="accent1"/>
              </a:solidFill>
            </a:ln>
          </p:spPr>
        </p:pic>
        <p:sp>
          <p:nvSpPr>
            <p:cNvPr id="11" name="TextBox 10"/>
            <p:cNvSpPr txBox="1"/>
            <p:nvPr/>
          </p:nvSpPr>
          <p:spPr>
            <a:xfrm>
              <a:off x="596037" y="1041903"/>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4</a:t>
              </a:r>
              <a:endParaRPr lang="zh-CN" altLang="en-US" sz="1400" dirty="0">
                <a:solidFill>
                  <a:schemeClr val="bg1">
                    <a:lumMod val="50000"/>
                  </a:schemeClr>
                </a:solidFill>
              </a:endParaRPr>
            </a:p>
          </p:txBody>
        </p:sp>
      </p:grpSp>
      <p:grpSp>
        <p:nvGrpSpPr>
          <p:cNvPr id="20" name="组合 19"/>
          <p:cNvGrpSpPr/>
          <p:nvPr/>
        </p:nvGrpSpPr>
        <p:grpSpPr>
          <a:xfrm>
            <a:off x="1703934" y="1727177"/>
            <a:ext cx="1368152" cy="1125018"/>
            <a:chOff x="1703934" y="1925522"/>
            <a:chExt cx="1368152" cy="1125018"/>
          </a:xfrm>
        </p:grpSpPr>
        <p:pic>
          <p:nvPicPr>
            <p:cNvPr id="6" name="图片 5"/>
            <p:cNvPicPr>
              <a:picLocks noChangeAspect="1"/>
            </p:cNvPicPr>
            <p:nvPr/>
          </p:nvPicPr>
          <p:blipFill rotWithShape="1">
            <a:blip r:embed="rId6" cstate="screen">
              <a:grayscl/>
            </a:blip>
            <a:srcRect/>
            <a:stretch>
              <a:fillRect/>
            </a:stretch>
          </p:blipFill>
          <p:spPr>
            <a:xfrm>
              <a:off x="1800383" y="2351470"/>
              <a:ext cx="699070" cy="699070"/>
            </a:xfrm>
            <a:prstGeom prst="ellipse">
              <a:avLst/>
            </a:prstGeom>
            <a:ln w="28575">
              <a:solidFill>
                <a:schemeClr val="accent1"/>
              </a:solidFill>
            </a:ln>
          </p:spPr>
        </p:pic>
        <p:sp>
          <p:nvSpPr>
            <p:cNvPr id="12" name="TextBox 11"/>
            <p:cNvSpPr txBox="1"/>
            <p:nvPr/>
          </p:nvSpPr>
          <p:spPr>
            <a:xfrm>
              <a:off x="1703934" y="1925522"/>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5</a:t>
              </a:r>
              <a:endParaRPr lang="zh-CN" altLang="en-US" sz="1400" dirty="0">
                <a:solidFill>
                  <a:schemeClr val="bg1">
                    <a:lumMod val="50000"/>
                  </a:schemeClr>
                </a:solidFill>
              </a:endParaRPr>
            </a:p>
          </p:txBody>
        </p:sp>
      </p:grpSp>
      <p:grpSp>
        <p:nvGrpSpPr>
          <p:cNvPr id="21" name="组合 20"/>
          <p:cNvGrpSpPr/>
          <p:nvPr/>
        </p:nvGrpSpPr>
        <p:grpSpPr>
          <a:xfrm>
            <a:off x="2816077" y="1098850"/>
            <a:ext cx="1368152" cy="1170727"/>
            <a:chOff x="2816077" y="1297195"/>
            <a:chExt cx="1368152" cy="1170727"/>
          </a:xfrm>
        </p:grpSpPr>
        <p:pic>
          <p:nvPicPr>
            <p:cNvPr id="7" name="图片 6"/>
            <p:cNvPicPr>
              <a:picLocks noChangeAspect="1"/>
            </p:cNvPicPr>
            <p:nvPr/>
          </p:nvPicPr>
          <p:blipFill rotWithShape="1">
            <a:blip r:embed="rId7" cstate="screen">
              <a:grayscl/>
            </a:blip>
            <a:srcRect/>
            <a:stretch>
              <a:fillRect/>
            </a:stretch>
          </p:blipFill>
          <p:spPr>
            <a:xfrm>
              <a:off x="2849398" y="1690898"/>
              <a:ext cx="777024" cy="777024"/>
            </a:xfrm>
            <a:prstGeom prst="ellipse">
              <a:avLst/>
            </a:prstGeom>
            <a:ln w="28575">
              <a:solidFill>
                <a:schemeClr val="accent1"/>
              </a:solidFill>
            </a:ln>
          </p:spPr>
        </p:pic>
        <p:sp>
          <p:nvSpPr>
            <p:cNvPr id="13" name="TextBox 12"/>
            <p:cNvSpPr txBox="1"/>
            <p:nvPr/>
          </p:nvSpPr>
          <p:spPr>
            <a:xfrm>
              <a:off x="2816077" y="1297195"/>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6</a:t>
              </a:r>
              <a:endParaRPr lang="zh-CN" altLang="en-US" sz="1400" dirty="0">
                <a:solidFill>
                  <a:schemeClr val="bg1">
                    <a:lumMod val="50000"/>
                  </a:schemeClr>
                </a:solidFill>
              </a:endParaRPr>
            </a:p>
          </p:txBody>
        </p:sp>
      </p:grpSp>
      <p:grpSp>
        <p:nvGrpSpPr>
          <p:cNvPr id="22" name="组合 21"/>
          <p:cNvGrpSpPr/>
          <p:nvPr/>
        </p:nvGrpSpPr>
        <p:grpSpPr>
          <a:xfrm>
            <a:off x="4000255" y="882826"/>
            <a:ext cx="1520103" cy="1799762"/>
            <a:chOff x="4000255" y="1081171"/>
            <a:chExt cx="1520103" cy="1799762"/>
          </a:xfrm>
        </p:grpSpPr>
        <p:pic>
          <p:nvPicPr>
            <p:cNvPr id="8" name="图片 7"/>
            <p:cNvPicPr>
              <a:picLocks noChangeAspect="1"/>
            </p:cNvPicPr>
            <p:nvPr/>
          </p:nvPicPr>
          <p:blipFill rotWithShape="1">
            <a:blip r:embed="rId8" cstate="screen">
              <a:grayscl/>
            </a:blip>
            <a:srcRect/>
            <a:stretch>
              <a:fillRect/>
            </a:stretch>
          </p:blipFill>
          <p:spPr>
            <a:xfrm>
              <a:off x="4000255" y="1435491"/>
              <a:ext cx="1445442" cy="1445442"/>
            </a:xfrm>
            <a:prstGeom prst="ellipse">
              <a:avLst/>
            </a:prstGeom>
            <a:ln w="28575">
              <a:solidFill>
                <a:schemeClr val="accent1"/>
              </a:solidFill>
            </a:ln>
          </p:spPr>
        </p:pic>
        <p:sp>
          <p:nvSpPr>
            <p:cNvPr id="14" name="TextBox 13"/>
            <p:cNvSpPr txBox="1"/>
            <p:nvPr/>
          </p:nvSpPr>
          <p:spPr>
            <a:xfrm>
              <a:off x="4152206" y="1081171"/>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7</a:t>
              </a:r>
              <a:endParaRPr lang="zh-CN" altLang="en-US" sz="1400" dirty="0">
                <a:solidFill>
                  <a:schemeClr val="bg1">
                    <a:lumMod val="50000"/>
                  </a:schemeClr>
                </a:solidFill>
              </a:endParaRPr>
            </a:p>
          </p:txBody>
        </p:sp>
      </p:grpSp>
      <p:grpSp>
        <p:nvGrpSpPr>
          <p:cNvPr id="23" name="组合 22"/>
          <p:cNvGrpSpPr/>
          <p:nvPr/>
        </p:nvGrpSpPr>
        <p:grpSpPr>
          <a:xfrm>
            <a:off x="5664374" y="1864248"/>
            <a:ext cx="1368152" cy="1157229"/>
            <a:chOff x="5664374" y="2062593"/>
            <a:chExt cx="1368152" cy="1157229"/>
          </a:xfrm>
        </p:grpSpPr>
        <p:pic>
          <p:nvPicPr>
            <p:cNvPr id="9" name="图片 8"/>
            <p:cNvPicPr>
              <a:picLocks noChangeAspect="1"/>
            </p:cNvPicPr>
            <p:nvPr/>
          </p:nvPicPr>
          <p:blipFill rotWithShape="1">
            <a:blip r:embed="rId9" cstate="screen">
              <a:grayscl/>
            </a:blip>
            <a:srcRect/>
            <a:stretch>
              <a:fillRect/>
            </a:stretch>
          </p:blipFill>
          <p:spPr>
            <a:xfrm>
              <a:off x="5820039" y="2568436"/>
              <a:ext cx="651386" cy="651386"/>
            </a:xfrm>
            <a:prstGeom prst="ellipse">
              <a:avLst/>
            </a:prstGeom>
            <a:ln w="28575">
              <a:solidFill>
                <a:schemeClr val="accent1"/>
              </a:solidFill>
            </a:ln>
          </p:spPr>
        </p:pic>
        <p:sp>
          <p:nvSpPr>
            <p:cNvPr id="15" name="TextBox 14"/>
            <p:cNvSpPr txBox="1"/>
            <p:nvPr/>
          </p:nvSpPr>
          <p:spPr>
            <a:xfrm>
              <a:off x="5664374" y="2062593"/>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8</a:t>
              </a:r>
              <a:endParaRPr lang="zh-CN" altLang="en-US" sz="1400" dirty="0">
                <a:solidFill>
                  <a:schemeClr val="bg1">
                    <a:lumMod val="50000"/>
                  </a:schemeClr>
                </a:solidFill>
              </a:endParaRPr>
            </a:p>
          </p:txBody>
        </p:sp>
      </p:grpSp>
      <p:grpSp>
        <p:nvGrpSpPr>
          <p:cNvPr id="24" name="组合 23"/>
          <p:cNvGrpSpPr/>
          <p:nvPr/>
        </p:nvGrpSpPr>
        <p:grpSpPr>
          <a:xfrm>
            <a:off x="7030223" y="935089"/>
            <a:ext cx="1514471" cy="1652605"/>
            <a:chOff x="7030223" y="1133434"/>
            <a:chExt cx="1514471" cy="1652605"/>
          </a:xfrm>
        </p:grpSpPr>
        <p:pic>
          <p:nvPicPr>
            <p:cNvPr id="10" name="图片 9"/>
            <p:cNvPicPr>
              <a:picLocks noChangeAspect="1"/>
            </p:cNvPicPr>
            <p:nvPr/>
          </p:nvPicPr>
          <p:blipFill rotWithShape="1">
            <a:blip r:embed="rId10" cstate="screen">
              <a:grayscl/>
            </a:blip>
            <a:srcRect/>
            <a:stretch>
              <a:fillRect/>
            </a:stretch>
          </p:blipFill>
          <p:spPr>
            <a:xfrm>
              <a:off x="7030223" y="1513065"/>
              <a:ext cx="1272974" cy="1272974"/>
            </a:xfrm>
            <a:prstGeom prst="ellipse">
              <a:avLst/>
            </a:prstGeom>
            <a:solidFill>
              <a:schemeClr val="accent1"/>
            </a:solidFill>
            <a:ln w="28575">
              <a:solidFill>
                <a:schemeClr val="accent1"/>
              </a:solidFill>
            </a:ln>
          </p:spPr>
        </p:pic>
        <p:sp>
          <p:nvSpPr>
            <p:cNvPr id="16" name="TextBox 15"/>
            <p:cNvSpPr txBox="1"/>
            <p:nvPr/>
          </p:nvSpPr>
          <p:spPr>
            <a:xfrm>
              <a:off x="7176542" y="1133434"/>
              <a:ext cx="1368152" cy="307777"/>
            </a:xfrm>
            <a:prstGeom prst="rect">
              <a:avLst/>
            </a:prstGeom>
            <a:noFill/>
          </p:spPr>
          <p:txBody>
            <a:bodyPr wrap="square" rtlCol="0">
              <a:spAutoFit/>
            </a:bodyPr>
            <a:lstStyle/>
            <a:p>
              <a:r>
                <a:rPr lang="en-US" altLang="zh-CN" sz="1400" dirty="0" smtClean="0">
                  <a:solidFill>
                    <a:schemeClr val="bg1">
                      <a:lumMod val="50000"/>
                    </a:schemeClr>
                  </a:solidFill>
                </a:rPr>
                <a:t>20XX.09</a:t>
              </a:r>
              <a:endParaRPr lang="zh-CN" altLang="en-US" sz="1400" dirty="0">
                <a:solidFill>
                  <a:schemeClr val="bg1">
                    <a:lumMod val="50000"/>
                  </a:schemeClr>
                </a:solidFill>
              </a:endParaRPr>
            </a:p>
          </p:txBody>
        </p:sp>
      </p:grpSp>
    </p:spTree>
  </p:cSld>
  <p:clrMapOvr>
    <a:masterClrMapping/>
  </p:clrMapOvr>
  <p:transition spd="slow" advTm="3415">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 calcmode="lin" valueType="num">
                                      <p:cBhvr>
                                        <p:cTn id="11" dur="500" fill="hold"/>
                                        <p:tgtEl>
                                          <p:spTgt spid="19"/>
                                        </p:tgtEl>
                                        <p:attrNameLst>
                                          <p:attrName>ppt_w</p:attrName>
                                        </p:attrNameLst>
                                      </p:cBhvr>
                                      <p:tavLst>
                                        <p:tav tm="0">
                                          <p:val>
                                            <p:fltVal val="0"/>
                                          </p:val>
                                        </p:tav>
                                        <p:tav tm="100000">
                                          <p:val>
                                            <p:strVal val="#ppt_w"/>
                                          </p:val>
                                        </p:tav>
                                      </p:tavLst>
                                    </p:anim>
                                    <p:anim calcmode="lin" valueType="num">
                                      <p:cBhvr>
                                        <p:cTn id="12" dur="500" fill="hold"/>
                                        <p:tgtEl>
                                          <p:spTgt spid="19"/>
                                        </p:tgtEl>
                                        <p:attrNameLst>
                                          <p:attrName>ppt_h</p:attrName>
                                        </p:attrNameLst>
                                      </p:cBhvr>
                                      <p:tavLst>
                                        <p:tav tm="0">
                                          <p:val>
                                            <p:fltVal val="0"/>
                                          </p:val>
                                        </p:tav>
                                        <p:tav tm="100000">
                                          <p:val>
                                            <p:strVal val="#ppt_h"/>
                                          </p:val>
                                        </p:tav>
                                      </p:tavLst>
                                    </p:anim>
                                    <p:animEffect transition="in" filter="fade">
                                      <p:cBhvr>
                                        <p:cTn id="13" dur="500"/>
                                        <p:tgtEl>
                                          <p:spTgt spid="19"/>
                                        </p:tgtEl>
                                      </p:cBhvr>
                                    </p:animEffect>
                                  </p:childTnLst>
                                </p:cTn>
                              </p:par>
                              <p:par>
                                <p:cTn id="14" presetID="53" presetClass="entr" presetSubtype="16" fill="hold" nodeType="withEffect">
                                  <p:stCondLst>
                                    <p:cond delay="200"/>
                                  </p:stCondLst>
                                  <p:childTnLst>
                                    <p:set>
                                      <p:cBhvr>
                                        <p:cTn id="15" dur="1" fill="hold">
                                          <p:stCondLst>
                                            <p:cond delay="0"/>
                                          </p:stCondLst>
                                        </p:cTn>
                                        <p:tgtEl>
                                          <p:spTgt spid="20"/>
                                        </p:tgtEl>
                                        <p:attrNameLst>
                                          <p:attrName>style.visibility</p:attrName>
                                        </p:attrNameLst>
                                      </p:cBhvr>
                                      <p:to>
                                        <p:strVal val="visible"/>
                                      </p:to>
                                    </p:set>
                                    <p:anim calcmode="lin" valueType="num">
                                      <p:cBhvr>
                                        <p:cTn id="16" dur="500" fill="hold"/>
                                        <p:tgtEl>
                                          <p:spTgt spid="20"/>
                                        </p:tgtEl>
                                        <p:attrNameLst>
                                          <p:attrName>ppt_w</p:attrName>
                                        </p:attrNameLst>
                                      </p:cBhvr>
                                      <p:tavLst>
                                        <p:tav tm="0">
                                          <p:val>
                                            <p:fltVal val="0"/>
                                          </p:val>
                                        </p:tav>
                                        <p:tav tm="100000">
                                          <p:val>
                                            <p:strVal val="#ppt_w"/>
                                          </p:val>
                                        </p:tav>
                                      </p:tavLst>
                                    </p:anim>
                                    <p:anim calcmode="lin" valueType="num">
                                      <p:cBhvr>
                                        <p:cTn id="17" dur="500" fill="hold"/>
                                        <p:tgtEl>
                                          <p:spTgt spid="20"/>
                                        </p:tgtEl>
                                        <p:attrNameLst>
                                          <p:attrName>ppt_h</p:attrName>
                                        </p:attrNameLst>
                                      </p:cBhvr>
                                      <p:tavLst>
                                        <p:tav tm="0">
                                          <p:val>
                                            <p:fltVal val="0"/>
                                          </p:val>
                                        </p:tav>
                                        <p:tav tm="100000">
                                          <p:val>
                                            <p:strVal val="#ppt_h"/>
                                          </p:val>
                                        </p:tav>
                                      </p:tavLst>
                                    </p:anim>
                                    <p:animEffect transition="in" filter="fade">
                                      <p:cBhvr>
                                        <p:cTn id="18" dur="500"/>
                                        <p:tgtEl>
                                          <p:spTgt spid="20"/>
                                        </p:tgtEl>
                                      </p:cBhvr>
                                    </p:animEffect>
                                  </p:childTnLst>
                                </p:cTn>
                              </p:par>
                              <p:par>
                                <p:cTn id="19" presetID="53" presetClass="entr" presetSubtype="16" fill="hold" nodeType="withEffect">
                                  <p:stCondLst>
                                    <p:cond delay="300"/>
                                  </p:stCondLst>
                                  <p:childTnLst>
                                    <p:set>
                                      <p:cBhvr>
                                        <p:cTn id="20" dur="1" fill="hold">
                                          <p:stCondLst>
                                            <p:cond delay="0"/>
                                          </p:stCondLst>
                                        </p:cTn>
                                        <p:tgtEl>
                                          <p:spTgt spid="21"/>
                                        </p:tgtEl>
                                        <p:attrNameLst>
                                          <p:attrName>style.visibility</p:attrName>
                                        </p:attrNameLst>
                                      </p:cBhvr>
                                      <p:to>
                                        <p:strVal val="visible"/>
                                      </p:to>
                                    </p:set>
                                    <p:anim calcmode="lin" valueType="num">
                                      <p:cBhvr>
                                        <p:cTn id="21" dur="500" fill="hold"/>
                                        <p:tgtEl>
                                          <p:spTgt spid="21"/>
                                        </p:tgtEl>
                                        <p:attrNameLst>
                                          <p:attrName>ppt_w</p:attrName>
                                        </p:attrNameLst>
                                      </p:cBhvr>
                                      <p:tavLst>
                                        <p:tav tm="0">
                                          <p:val>
                                            <p:fltVal val="0"/>
                                          </p:val>
                                        </p:tav>
                                        <p:tav tm="100000">
                                          <p:val>
                                            <p:strVal val="#ppt_w"/>
                                          </p:val>
                                        </p:tav>
                                      </p:tavLst>
                                    </p:anim>
                                    <p:anim calcmode="lin" valueType="num">
                                      <p:cBhvr>
                                        <p:cTn id="22" dur="500" fill="hold"/>
                                        <p:tgtEl>
                                          <p:spTgt spid="21"/>
                                        </p:tgtEl>
                                        <p:attrNameLst>
                                          <p:attrName>ppt_h</p:attrName>
                                        </p:attrNameLst>
                                      </p:cBhvr>
                                      <p:tavLst>
                                        <p:tav tm="0">
                                          <p:val>
                                            <p:fltVal val="0"/>
                                          </p:val>
                                        </p:tav>
                                        <p:tav tm="100000">
                                          <p:val>
                                            <p:strVal val="#ppt_h"/>
                                          </p:val>
                                        </p:tav>
                                      </p:tavLst>
                                    </p:anim>
                                    <p:animEffect transition="in" filter="fade">
                                      <p:cBhvr>
                                        <p:cTn id="23" dur="500"/>
                                        <p:tgtEl>
                                          <p:spTgt spid="21"/>
                                        </p:tgtEl>
                                      </p:cBhvr>
                                    </p:animEffect>
                                  </p:childTnLst>
                                </p:cTn>
                              </p:par>
                              <p:par>
                                <p:cTn id="24" presetID="53" presetClass="entr" presetSubtype="16" fill="hold" nodeType="withEffect">
                                  <p:stCondLst>
                                    <p:cond delay="400"/>
                                  </p:stCondLst>
                                  <p:childTnLst>
                                    <p:set>
                                      <p:cBhvr>
                                        <p:cTn id="25" dur="1" fill="hold">
                                          <p:stCondLst>
                                            <p:cond delay="0"/>
                                          </p:stCondLst>
                                        </p:cTn>
                                        <p:tgtEl>
                                          <p:spTgt spid="22"/>
                                        </p:tgtEl>
                                        <p:attrNameLst>
                                          <p:attrName>style.visibility</p:attrName>
                                        </p:attrNameLst>
                                      </p:cBhvr>
                                      <p:to>
                                        <p:strVal val="visible"/>
                                      </p:to>
                                    </p:set>
                                    <p:anim calcmode="lin" valueType="num">
                                      <p:cBhvr>
                                        <p:cTn id="26" dur="500" fill="hold"/>
                                        <p:tgtEl>
                                          <p:spTgt spid="22"/>
                                        </p:tgtEl>
                                        <p:attrNameLst>
                                          <p:attrName>ppt_w</p:attrName>
                                        </p:attrNameLst>
                                      </p:cBhvr>
                                      <p:tavLst>
                                        <p:tav tm="0">
                                          <p:val>
                                            <p:fltVal val="0"/>
                                          </p:val>
                                        </p:tav>
                                        <p:tav tm="100000">
                                          <p:val>
                                            <p:strVal val="#ppt_w"/>
                                          </p:val>
                                        </p:tav>
                                      </p:tavLst>
                                    </p:anim>
                                    <p:anim calcmode="lin" valueType="num">
                                      <p:cBhvr>
                                        <p:cTn id="27" dur="500" fill="hold"/>
                                        <p:tgtEl>
                                          <p:spTgt spid="22"/>
                                        </p:tgtEl>
                                        <p:attrNameLst>
                                          <p:attrName>ppt_h</p:attrName>
                                        </p:attrNameLst>
                                      </p:cBhvr>
                                      <p:tavLst>
                                        <p:tav tm="0">
                                          <p:val>
                                            <p:fltVal val="0"/>
                                          </p:val>
                                        </p:tav>
                                        <p:tav tm="100000">
                                          <p:val>
                                            <p:strVal val="#ppt_h"/>
                                          </p:val>
                                        </p:tav>
                                      </p:tavLst>
                                    </p:anim>
                                    <p:animEffect transition="in" filter="fade">
                                      <p:cBhvr>
                                        <p:cTn id="28" dur="500"/>
                                        <p:tgtEl>
                                          <p:spTgt spid="22"/>
                                        </p:tgtEl>
                                      </p:cBhvr>
                                    </p:animEffect>
                                  </p:childTnLst>
                                </p:cTn>
                              </p:par>
                              <p:par>
                                <p:cTn id="29" presetID="53" presetClass="entr" presetSubtype="16" fill="hold" nodeType="withEffect">
                                  <p:stCondLst>
                                    <p:cond delay="600"/>
                                  </p:stCondLst>
                                  <p:childTnLst>
                                    <p:set>
                                      <p:cBhvr>
                                        <p:cTn id="30" dur="1" fill="hold">
                                          <p:stCondLst>
                                            <p:cond delay="0"/>
                                          </p:stCondLst>
                                        </p:cTn>
                                        <p:tgtEl>
                                          <p:spTgt spid="23"/>
                                        </p:tgtEl>
                                        <p:attrNameLst>
                                          <p:attrName>style.visibility</p:attrName>
                                        </p:attrNameLst>
                                      </p:cBhvr>
                                      <p:to>
                                        <p:strVal val="visible"/>
                                      </p:to>
                                    </p:set>
                                    <p:anim calcmode="lin" valueType="num">
                                      <p:cBhvr>
                                        <p:cTn id="31" dur="500" fill="hold"/>
                                        <p:tgtEl>
                                          <p:spTgt spid="23"/>
                                        </p:tgtEl>
                                        <p:attrNameLst>
                                          <p:attrName>ppt_w</p:attrName>
                                        </p:attrNameLst>
                                      </p:cBhvr>
                                      <p:tavLst>
                                        <p:tav tm="0">
                                          <p:val>
                                            <p:fltVal val="0"/>
                                          </p:val>
                                        </p:tav>
                                        <p:tav tm="100000">
                                          <p:val>
                                            <p:strVal val="#ppt_w"/>
                                          </p:val>
                                        </p:tav>
                                      </p:tavLst>
                                    </p:anim>
                                    <p:anim calcmode="lin" valueType="num">
                                      <p:cBhvr>
                                        <p:cTn id="32" dur="500" fill="hold"/>
                                        <p:tgtEl>
                                          <p:spTgt spid="23"/>
                                        </p:tgtEl>
                                        <p:attrNameLst>
                                          <p:attrName>ppt_h</p:attrName>
                                        </p:attrNameLst>
                                      </p:cBhvr>
                                      <p:tavLst>
                                        <p:tav tm="0">
                                          <p:val>
                                            <p:fltVal val="0"/>
                                          </p:val>
                                        </p:tav>
                                        <p:tav tm="100000">
                                          <p:val>
                                            <p:strVal val="#ppt_h"/>
                                          </p:val>
                                        </p:tav>
                                      </p:tavLst>
                                    </p:anim>
                                    <p:animEffect transition="in" filter="fade">
                                      <p:cBhvr>
                                        <p:cTn id="33" dur="500"/>
                                        <p:tgtEl>
                                          <p:spTgt spid="23"/>
                                        </p:tgtEl>
                                      </p:cBhvr>
                                    </p:animEffect>
                                  </p:childTnLst>
                                </p:cTn>
                              </p:par>
                              <p:par>
                                <p:cTn id="34" presetID="53" presetClass="entr" presetSubtype="16" fill="hold" nodeType="withEffect">
                                  <p:stCondLst>
                                    <p:cond delay="700"/>
                                  </p:stCondLst>
                                  <p:childTnLst>
                                    <p:set>
                                      <p:cBhvr>
                                        <p:cTn id="35" dur="1" fill="hold">
                                          <p:stCondLst>
                                            <p:cond delay="0"/>
                                          </p:stCondLst>
                                        </p:cTn>
                                        <p:tgtEl>
                                          <p:spTgt spid="24"/>
                                        </p:tgtEl>
                                        <p:attrNameLst>
                                          <p:attrName>style.visibility</p:attrName>
                                        </p:attrNameLst>
                                      </p:cBhvr>
                                      <p:to>
                                        <p:strVal val="visible"/>
                                      </p:to>
                                    </p:set>
                                    <p:anim calcmode="lin" valueType="num">
                                      <p:cBhvr>
                                        <p:cTn id="36" dur="500" fill="hold"/>
                                        <p:tgtEl>
                                          <p:spTgt spid="24"/>
                                        </p:tgtEl>
                                        <p:attrNameLst>
                                          <p:attrName>ppt_w</p:attrName>
                                        </p:attrNameLst>
                                      </p:cBhvr>
                                      <p:tavLst>
                                        <p:tav tm="0">
                                          <p:val>
                                            <p:fltVal val="0"/>
                                          </p:val>
                                        </p:tav>
                                        <p:tav tm="100000">
                                          <p:val>
                                            <p:strVal val="#ppt_w"/>
                                          </p:val>
                                        </p:tav>
                                      </p:tavLst>
                                    </p:anim>
                                    <p:anim calcmode="lin" valueType="num">
                                      <p:cBhvr>
                                        <p:cTn id="37" dur="500" fill="hold"/>
                                        <p:tgtEl>
                                          <p:spTgt spid="24"/>
                                        </p:tgtEl>
                                        <p:attrNameLst>
                                          <p:attrName>ppt_h</p:attrName>
                                        </p:attrNameLst>
                                      </p:cBhvr>
                                      <p:tavLst>
                                        <p:tav tm="0">
                                          <p:val>
                                            <p:fltVal val="0"/>
                                          </p:val>
                                        </p:tav>
                                        <p:tav tm="100000">
                                          <p:val>
                                            <p:strVal val="#ppt_h"/>
                                          </p:val>
                                        </p:tav>
                                      </p:tavLst>
                                    </p:anim>
                                    <p:animEffect transition="in" filter="fade">
                                      <p:cBhvr>
                                        <p:cTn id="38"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年度工作计划</a:t>
            </a:r>
          </a:p>
        </p:txBody>
      </p:sp>
      <p:sp>
        <p:nvSpPr>
          <p:cNvPr id="3" name="Rectangle 2"/>
          <p:cNvSpPr/>
          <p:nvPr/>
        </p:nvSpPr>
        <p:spPr>
          <a:xfrm>
            <a:off x="827584" y="2673803"/>
            <a:ext cx="1787397" cy="1330992"/>
          </a:xfrm>
          <a:prstGeom prst="rect">
            <a:avLst/>
          </a:prstGeom>
        </p:spPr>
        <p:txBody>
          <a:bodyPr vert="horz" wrap="square" lIns="0" tIns="45650" rIns="91301" bIns="45650" anchor="t"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4445" algn="ctr"/>
            <a:r>
              <a:rPr lang="zh-CN" altLang="en-US" sz="1600" b="1" dirty="0">
                <a:solidFill>
                  <a:schemeClr val="accent1"/>
                </a:solidFill>
                <a:latin typeface="+mn-ea"/>
                <a:cs typeface="Segoe"/>
              </a:rPr>
              <a:t>单击添加标题</a:t>
            </a:r>
            <a:endParaRPr lang="en-US" sz="1600" b="1" dirty="0">
              <a:solidFill>
                <a:schemeClr val="accent1"/>
              </a:solidFill>
              <a:latin typeface="+mn-ea"/>
              <a:cs typeface="Segoe"/>
            </a:endParaRPr>
          </a:p>
          <a:p>
            <a:pPr indent="-4445" algn="ctr"/>
            <a:endParaRPr lang="en-US" sz="1050" dirty="0">
              <a:solidFill>
                <a:srgbClr val="573A1E"/>
              </a:solidFill>
              <a:latin typeface="+mn-ea"/>
              <a:cs typeface="Segoe"/>
            </a:endParaRPr>
          </a:p>
          <a:p>
            <a:pPr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endParaRPr lang="en-US" altLang="zh-CN" sz="1200" dirty="0">
              <a:solidFill>
                <a:schemeClr val="tx1">
                  <a:lumMod val="75000"/>
                  <a:lumOff val="25000"/>
                </a:schemeClr>
              </a:solidFill>
              <a:latin typeface="+mn-ea"/>
              <a:cs typeface="Arial" panose="020B0604020202020204" pitchFamily="34" charset="0"/>
            </a:endParaRPr>
          </a:p>
          <a:p>
            <a:pPr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p>
          <a:p>
            <a:pPr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p>
        </p:txBody>
      </p:sp>
      <p:sp>
        <p:nvSpPr>
          <p:cNvPr id="4" name="Rectangle 3"/>
          <p:cNvSpPr/>
          <p:nvPr/>
        </p:nvSpPr>
        <p:spPr>
          <a:xfrm>
            <a:off x="6565743" y="2673803"/>
            <a:ext cx="1960201" cy="1330992"/>
          </a:xfrm>
          <a:prstGeom prst="rect">
            <a:avLst/>
          </a:prstGeom>
        </p:spPr>
        <p:txBody>
          <a:bodyPr vert="horz" wrap="square" lIns="0" tIns="45650" rIns="91301" bIns="45650" anchor="t"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indent="-4445" algn="ctr"/>
            <a:r>
              <a:rPr lang="zh-CN" altLang="en-US" sz="1600" b="1" dirty="0">
                <a:solidFill>
                  <a:schemeClr val="accent1"/>
                </a:solidFill>
                <a:latin typeface="+mn-ea"/>
                <a:cs typeface="Segoe"/>
              </a:rPr>
              <a:t>单击添加标题</a:t>
            </a:r>
            <a:endParaRPr lang="en-US" altLang="zh-CN" sz="1600" b="1" dirty="0">
              <a:solidFill>
                <a:schemeClr val="accent1"/>
              </a:solidFill>
              <a:latin typeface="+mn-ea"/>
              <a:cs typeface="Segoe"/>
            </a:endParaRPr>
          </a:p>
          <a:p>
            <a:pPr lvl="0" indent="-4445" algn="ctr"/>
            <a:endParaRPr lang="en-US" altLang="zh-CN" sz="1050" dirty="0">
              <a:solidFill>
                <a:srgbClr val="573A1E"/>
              </a:solidFill>
              <a:latin typeface="微软雅黑" panose="020B0503020204020204" pitchFamily="34" charset="-122"/>
              <a:cs typeface="Segoe"/>
            </a:endParaRP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endParaRPr lang="en-US" altLang="zh-CN" sz="1200" dirty="0">
              <a:solidFill>
                <a:schemeClr val="tx1">
                  <a:lumMod val="75000"/>
                  <a:lumOff val="25000"/>
                </a:schemeClr>
              </a:solidFill>
              <a:latin typeface="微软雅黑" panose="020B0503020204020204" pitchFamily="34" charset="-122"/>
              <a:cs typeface="Arial" panose="020B0604020202020204" pitchFamily="34" charset="0"/>
            </a:endParaRP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p>
        </p:txBody>
      </p:sp>
      <p:sp>
        <p:nvSpPr>
          <p:cNvPr id="5" name="Rectangle 7"/>
          <p:cNvSpPr/>
          <p:nvPr/>
        </p:nvSpPr>
        <p:spPr>
          <a:xfrm>
            <a:off x="2786965" y="2673803"/>
            <a:ext cx="1688096" cy="1330992"/>
          </a:xfrm>
          <a:prstGeom prst="rect">
            <a:avLst/>
          </a:prstGeom>
        </p:spPr>
        <p:txBody>
          <a:bodyPr vert="horz" wrap="square" lIns="0" tIns="45650" rIns="91301" bIns="45650" anchor="t"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indent="-4445" algn="ctr"/>
            <a:r>
              <a:rPr lang="zh-CN" altLang="en-US" sz="1600" b="1" dirty="0">
                <a:solidFill>
                  <a:schemeClr val="accent1"/>
                </a:solidFill>
                <a:latin typeface="+mn-ea"/>
                <a:cs typeface="Segoe"/>
              </a:rPr>
              <a:t>单击添加标题</a:t>
            </a:r>
            <a:endParaRPr lang="en-US" altLang="zh-CN" sz="1600" b="1" dirty="0">
              <a:solidFill>
                <a:schemeClr val="accent1"/>
              </a:solidFill>
              <a:latin typeface="+mn-ea"/>
              <a:cs typeface="Segoe"/>
            </a:endParaRPr>
          </a:p>
          <a:p>
            <a:pPr lvl="0" indent="-4445" algn="ctr"/>
            <a:endParaRPr lang="en-US" altLang="zh-CN" sz="1050" dirty="0">
              <a:solidFill>
                <a:srgbClr val="573A1E"/>
              </a:solidFill>
              <a:latin typeface="微软雅黑" panose="020B0503020204020204" pitchFamily="34" charset="-122"/>
              <a:cs typeface="Segoe"/>
            </a:endParaRPr>
          </a:p>
          <a:p>
            <a:pPr lvl="0"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endParaRPr lang="en-US" altLang="zh-CN" sz="1200" dirty="0">
              <a:solidFill>
                <a:schemeClr val="tx1">
                  <a:lumMod val="75000"/>
                  <a:lumOff val="25000"/>
                </a:schemeClr>
              </a:solidFill>
              <a:latin typeface="+mn-ea"/>
              <a:cs typeface="Arial" panose="020B0604020202020204" pitchFamily="34" charset="0"/>
            </a:endParaRPr>
          </a:p>
          <a:p>
            <a:pPr lvl="0"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p>
          <a:p>
            <a:pPr lvl="0" algn="ctr">
              <a:lnSpc>
                <a:spcPct val="150000"/>
              </a:lnSpc>
            </a:pPr>
            <a:r>
              <a:rPr lang="zh-CN" altLang="en-US" sz="1200" dirty="0">
                <a:solidFill>
                  <a:schemeClr val="tx1">
                    <a:lumMod val="75000"/>
                    <a:lumOff val="25000"/>
                  </a:schemeClr>
                </a:solidFill>
                <a:latin typeface="+mn-ea"/>
                <a:cs typeface="Arial" panose="020B0604020202020204" pitchFamily="34" charset="0"/>
              </a:rPr>
              <a:t>单击此处添加文本</a:t>
            </a:r>
          </a:p>
        </p:txBody>
      </p:sp>
      <p:grpSp>
        <p:nvGrpSpPr>
          <p:cNvPr id="6" name="组合 5"/>
          <p:cNvGrpSpPr/>
          <p:nvPr/>
        </p:nvGrpSpPr>
        <p:grpSpPr>
          <a:xfrm>
            <a:off x="827584" y="1206157"/>
            <a:ext cx="1787397" cy="1254427"/>
            <a:chOff x="383983" y="1134458"/>
            <a:chExt cx="2003232" cy="1405904"/>
          </a:xfrm>
        </p:grpSpPr>
        <p:sp>
          <p:nvSpPr>
            <p:cNvPr id="17" name="Rectangle 5"/>
            <p:cNvSpPr/>
            <p:nvPr/>
          </p:nvSpPr>
          <p:spPr>
            <a:xfrm>
              <a:off x="383983" y="1134458"/>
              <a:ext cx="2003232" cy="1405904"/>
            </a:xfrm>
            <a:prstGeom prst="rect">
              <a:avLst/>
            </a:prstGeom>
            <a:solidFill>
              <a:schemeClr val="accent1"/>
            </a:solidFill>
            <a:ln w="9525" cap="flat" cmpd="sng" algn="ctr">
              <a:noFill/>
              <a:prstDash val="solid"/>
            </a:ln>
            <a:effectLst/>
          </p:spPr>
          <p:txBody>
            <a:bodyPr lIns="274297" tIns="274297" rIns="91432" bIns="45716"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dirty="0">
                <a:ln>
                  <a:noFill/>
                </a:ln>
                <a:solidFill>
                  <a:srgbClr val="FFFFFF"/>
                </a:solidFill>
                <a:effectLst/>
                <a:uLnTx/>
                <a:uFillTx/>
                <a:latin typeface="Segoe" pitchFamily="34" charset="0"/>
                <a:ea typeface="+mn-ea"/>
                <a:cs typeface="+mn-cs"/>
              </a:endParaRPr>
            </a:p>
          </p:txBody>
        </p:sp>
        <p:pic>
          <p:nvPicPr>
            <p:cNvPr id="18" name="Picture 4" descr="\\MAGNUM\Projects\Microsoft\Journey to the Cloud Campaign\Design\Assets\PrivateCloud.png"/>
            <p:cNvPicPr>
              <a:picLocks noChangeAspect="1" noChangeArrowheads="1"/>
            </p:cNvPicPr>
            <p:nvPr/>
          </p:nvPicPr>
          <p:blipFill>
            <a:blip r:embed="rId3" cstate="screen">
              <a:lum bright="100000"/>
            </a:blip>
            <a:srcRect/>
            <a:stretch>
              <a:fillRect/>
            </a:stretch>
          </p:blipFill>
          <p:spPr bwMode="auto">
            <a:xfrm>
              <a:off x="578350" y="1498147"/>
              <a:ext cx="1565973" cy="785218"/>
            </a:xfrm>
            <a:prstGeom prst="rect">
              <a:avLst/>
            </a:prstGeom>
            <a:noFill/>
          </p:spPr>
        </p:pic>
      </p:grpSp>
      <p:sp>
        <p:nvSpPr>
          <p:cNvPr id="7" name="Rectangle 11"/>
          <p:cNvSpPr/>
          <p:nvPr/>
        </p:nvSpPr>
        <p:spPr>
          <a:xfrm>
            <a:off x="4629520" y="2673804"/>
            <a:ext cx="1886696" cy="1330992"/>
          </a:xfrm>
          <a:prstGeom prst="rect">
            <a:avLst/>
          </a:prstGeom>
        </p:spPr>
        <p:txBody>
          <a:bodyPr vert="horz" wrap="square" lIns="0" tIns="45650" rIns="91301" bIns="45650" anchor="t" anchorCtr="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indent="-4445" algn="ctr"/>
            <a:r>
              <a:rPr lang="zh-CN" altLang="en-US" sz="1600" b="1" dirty="0">
                <a:solidFill>
                  <a:schemeClr val="accent1"/>
                </a:solidFill>
                <a:latin typeface="+mn-ea"/>
                <a:cs typeface="Segoe"/>
              </a:rPr>
              <a:t>单击添加标题</a:t>
            </a:r>
            <a:endParaRPr lang="en-US" altLang="zh-CN" sz="1600" b="1" dirty="0">
              <a:solidFill>
                <a:schemeClr val="accent1"/>
              </a:solidFill>
              <a:latin typeface="+mn-ea"/>
              <a:cs typeface="Segoe"/>
            </a:endParaRPr>
          </a:p>
          <a:p>
            <a:pPr lvl="0" indent="-4445" algn="ctr"/>
            <a:endParaRPr lang="en-US" altLang="zh-CN" sz="1050" dirty="0">
              <a:solidFill>
                <a:srgbClr val="573A1E"/>
              </a:solidFill>
              <a:latin typeface="微软雅黑" panose="020B0503020204020204" pitchFamily="34" charset="-122"/>
              <a:cs typeface="Segoe"/>
            </a:endParaRP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endParaRPr lang="en-US" altLang="zh-CN" sz="1200" dirty="0">
              <a:solidFill>
                <a:schemeClr val="tx1">
                  <a:lumMod val="75000"/>
                  <a:lumOff val="25000"/>
                </a:schemeClr>
              </a:solidFill>
              <a:latin typeface="微软雅黑" panose="020B0503020204020204" pitchFamily="34" charset="-122"/>
              <a:cs typeface="Arial" panose="020B0604020202020204" pitchFamily="34" charset="0"/>
            </a:endParaRP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p>
          <a:p>
            <a:pPr lvl="0" algn="ctr">
              <a:lnSpc>
                <a:spcPct val="150000"/>
              </a:lnSpc>
            </a:pPr>
            <a:r>
              <a:rPr lang="zh-CN" altLang="en-US" sz="1200" dirty="0">
                <a:solidFill>
                  <a:schemeClr val="tx1">
                    <a:lumMod val="75000"/>
                    <a:lumOff val="25000"/>
                  </a:schemeClr>
                </a:solidFill>
                <a:latin typeface="微软雅黑" panose="020B0503020204020204" pitchFamily="34" charset="-122"/>
                <a:cs typeface="Arial" panose="020B0604020202020204" pitchFamily="34" charset="0"/>
              </a:rPr>
              <a:t>单击此处添加文本</a:t>
            </a:r>
          </a:p>
        </p:txBody>
      </p:sp>
      <p:grpSp>
        <p:nvGrpSpPr>
          <p:cNvPr id="8" name="组合 7"/>
          <p:cNvGrpSpPr/>
          <p:nvPr/>
        </p:nvGrpSpPr>
        <p:grpSpPr>
          <a:xfrm>
            <a:off x="6546878" y="1206157"/>
            <a:ext cx="1871305" cy="1254427"/>
            <a:chOff x="6727550" y="1134458"/>
            <a:chExt cx="2097273" cy="1405904"/>
          </a:xfrm>
        </p:grpSpPr>
        <p:sp>
          <p:nvSpPr>
            <p:cNvPr id="15" name="Rectangle 6"/>
            <p:cNvSpPr/>
            <p:nvPr/>
          </p:nvSpPr>
          <p:spPr>
            <a:xfrm>
              <a:off x="6727550" y="1134458"/>
              <a:ext cx="2097273" cy="1405904"/>
            </a:xfrm>
            <a:prstGeom prst="rect">
              <a:avLst/>
            </a:prstGeom>
            <a:solidFill>
              <a:schemeClr val="accent1"/>
            </a:solidFill>
            <a:ln w="9525" cap="flat" cmpd="sng" algn="ctr">
              <a:noFill/>
              <a:prstDash val="solid"/>
            </a:ln>
            <a:effectLst/>
          </p:spPr>
          <p:txBody>
            <a:bodyPr lIns="274297" tIns="274297" rIns="91432" bIns="45716"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dirty="0">
                <a:ln>
                  <a:noFill/>
                </a:ln>
                <a:solidFill>
                  <a:srgbClr val="FFFFFF"/>
                </a:solidFill>
                <a:effectLst/>
                <a:uLnTx/>
                <a:uFillTx/>
                <a:latin typeface="Segoe" pitchFamily="34" charset="0"/>
                <a:ea typeface="+mn-ea"/>
                <a:cs typeface="+mn-cs"/>
              </a:endParaRPr>
            </a:p>
          </p:txBody>
        </p:sp>
        <p:pic>
          <p:nvPicPr>
            <p:cNvPr id="16" name="Picture 2" descr="\\MAGNUM\Projects\Microsoft\Journey to the Cloud Campaign\Design\Assets\Flexible.png"/>
            <p:cNvPicPr>
              <a:picLocks noChangeAspect="1" noChangeArrowheads="1"/>
            </p:cNvPicPr>
            <p:nvPr/>
          </p:nvPicPr>
          <p:blipFill>
            <a:blip r:embed="rId4" cstate="screen">
              <a:lum bright="100000"/>
            </a:blip>
            <a:srcRect/>
            <a:stretch>
              <a:fillRect/>
            </a:stretch>
          </p:blipFill>
          <p:spPr bwMode="auto">
            <a:xfrm>
              <a:off x="7142947" y="1273376"/>
              <a:ext cx="1252371" cy="1184912"/>
            </a:xfrm>
            <a:prstGeom prst="rect">
              <a:avLst/>
            </a:prstGeom>
            <a:noFill/>
          </p:spPr>
        </p:pic>
      </p:grpSp>
      <p:grpSp>
        <p:nvGrpSpPr>
          <p:cNvPr id="9" name="组合 8"/>
          <p:cNvGrpSpPr/>
          <p:nvPr/>
        </p:nvGrpSpPr>
        <p:grpSpPr>
          <a:xfrm>
            <a:off x="2743480" y="1203598"/>
            <a:ext cx="1787397" cy="1254427"/>
            <a:chOff x="2505416" y="1131590"/>
            <a:chExt cx="2003232" cy="1405904"/>
          </a:xfrm>
        </p:grpSpPr>
        <p:sp>
          <p:nvSpPr>
            <p:cNvPr id="13" name="Rectangle 15"/>
            <p:cNvSpPr/>
            <p:nvPr/>
          </p:nvSpPr>
          <p:spPr>
            <a:xfrm>
              <a:off x="2505416" y="1131590"/>
              <a:ext cx="2003232" cy="1405904"/>
            </a:xfrm>
            <a:prstGeom prst="rect">
              <a:avLst/>
            </a:prstGeom>
            <a:solidFill>
              <a:schemeClr val="accent1"/>
            </a:solidFill>
            <a:ln w="9525" cap="flat" cmpd="sng" algn="ctr">
              <a:noFill/>
              <a:prstDash val="solid"/>
            </a:ln>
            <a:effectLst/>
          </p:spPr>
          <p:txBody>
            <a:bodyPr lIns="274297" tIns="274297" rIns="91432" bIns="45716"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dirty="0">
                <a:ln>
                  <a:noFill/>
                </a:ln>
                <a:solidFill>
                  <a:srgbClr val="FFFFFF"/>
                </a:solidFill>
                <a:effectLst/>
                <a:uLnTx/>
                <a:uFillTx/>
                <a:latin typeface="Segoe" pitchFamily="34" charset="0"/>
                <a:ea typeface="+mn-ea"/>
                <a:cs typeface="+mn-cs"/>
              </a:endParaRPr>
            </a:p>
          </p:txBody>
        </p:sp>
        <p:pic>
          <p:nvPicPr>
            <p:cNvPr id="14" name="Picture 34" descr="Efficiency.png"/>
            <p:cNvPicPr>
              <a:picLocks noChangeAspect="1"/>
            </p:cNvPicPr>
            <p:nvPr/>
          </p:nvPicPr>
          <p:blipFill>
            <a:blip r:embed="rId5" cstate="screen"/>
            <a:srcRect/>
            <a:stretch>
              <a:fillRect/>
            </a:stretch>
          </p:blipFill>
          <p:spPr bwMode="auto">
            <a:xfrm>
              <a:off x="2856838" y="1246598"/>
              <a:ext cx="1311028" cy="1226804"/>
            </a:xfrm>
            <a:prstGeom prst="rect">
              <a:avLst/>
            </a:prstGeom>
            <a:noFill/>
            <a:ln w="9525">
              <a:noFill/>
              <a:miter lim="800000"/>
              <a:headEnd/>
              <a:tailEnd/>
            </a:ln>
          </p:spPr>
        </p:pic>
      </p:grpSp>
      <p:grpSp>
        <p:nvGrpSpPr>
          <p:cNvPr id="10" name="组合 9"/>
          <p:cNvGrpSpPr/>
          <p:nvPr/>
        </p:nvGrpSpPr>
        <p:grpSpPr>
          <a:xfrm>
            <a:off x="4646483" y="1206157"/>
            <a:ext cx="1787397" cy="1254427"/>
            <a:chOff x="4611875" y="1134458"/>
            <a:chExt cx="2003232" cy="1405904"/>
          </a:xfrm>
        </p:grpSpPr>
        <p:sp>
          <p:nvSpPr>
            <p:cNvPr id="11" name="Rectangle 16"/>
            <p:cNvSpPr/>
            <p:nvPr/>
          </p:nvSpPr>
          <p:spPr>
            <a:xfrm>
              <a:off x="4611875" y="1134458"/>
              <a:ext cx="2003232" cy="1405904"/>
            </a:xfrm>
            <a:prstGeom prst="rect">
              <a:avLst/>
            </a:prstGeom>
            <a:solidFill>
              <a:schemeClr val="accent1"/>
            </a:solidFill>
            <a:ln w="9525" cap="flat" cmpd="sng" algn="ctr">
              <a:noFill/>
              <a:prstDash val="solid"/>
            </a:ln>
            <a:effectLst/>
          </p:spPr>
          <p:txBody>
            <a:bodyPr lIns="274297" tIns="274297" rIns="91432" bIns="45716" anchor="t"/>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dirty="0">
                <a:ln>
                  <a:noFill/>
                </a:ln>
                <a:solidFill>
                  <a:srgbClr val="FFFFFF"/>
                </a:solidFill>
                <a:effectLst/>
                <a:uLnTx/>
                <a:uFillTx/>
                <a:latin typeface="Segoe" pitchFamily="34" charset="0"/>
                <a:ea typeface="+mn-ea"/>
                <a:cs typeface="+mn-cs"/>
              </a:endParaRPr>
            </a:p>
          </p:txBody>
        </p:sp>
        <p:pic>
          <p:nvPicPr>
            <p:cNvPr id="12" name="Picture 2" descr="\\MAGNUM\Projects\Microsoft\Journey to the Cloud Campaign\Design\Assets\App_web.png"/>
            <p:cNvPicPr>
              <a:picLocks noChangeAspect="1" noChangeArrowheads="1"/>
            </p:cNvPicPr>
            <p:nvPr/>
          </p:nvPicPr>
          <p:blipFill>
            <a:blip r:embed="rId6" cstate="screen">
              <a:lum bright="100000"/>
            </a:blip>
            <a:srcRect/>
            <a:stretch>
              <a:fillRect/>
            </a:stretch>
          </p:blipFill>
          <p:spPr bwMode="auto">
            <a:xfrm>
              <a:off x="5075912" y="1472020"/>
              <a:ext cx="1095185" cy="807805"/>
            </a:xfrm>
            <a:prstGeom prst="rect">
              <a:avLst/>
            </a:prstGeom>
            <a:noFill/>
          </p:spPr>
        </p:pic>
      </p:grpSp>
    </p:spTree>
  </p:cSld>
  <p:clrMapOvr>
    <a:masterClrMapping/>
  </p:clrMapOvr>
  <p:transition spd="slow" advTm="320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3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22" presetClass="entr" presetSubtype="1" fill="hold" grpId="0" nodeType="withEffect">
                                  <p:stCondLst>
                                    <p:cond delay="300"/>
                                  </p:stCondLst>
                                  <p:childTnLst>
                                    <p:set>
                                      <p:cBhvr>
                                        <p:cTn id="12" dur="1" fill="hold">
                                          <p:stCondLst>
                                            <p:cond delay="0"/>
                                          </p:stCondLst>
                                        </p:cTn>
                                        <p:tgtEl>
                                          <p:spTgt spid="3"/>
                                        </p:tgtEl>
                                        <p:attrNameLst>
                                          <p:attrName>style.visibility</p:attrName>
                                        </p:attrNameLst>
                                      </p:cBhvr>
                                      <p:to>
                                        <p:strVal val="visible"/>
                                      </p:to>
                                    </p:set>
                                    <p:animEffect transition="in" filter="wipe(up)">
                                      <p:cBhvr>
                                        <p:cTn id="13" dur="500"/>
                                        <p:tgtEl>
                                          <p:spTgt spid="3"/>
                                        </p:tgtEl>
                                      </p:cBhvr>
                                    </p:animEffect>
                                  </p:childTnLst>
                                </p:cTn>
                              </p:par>
                              <p:par>
                                <p:cTn id="14" presetID="10" presetClass="entr" presetSubtype="0" fill="hold" nodeType="withEffect">
                                  <p:stCondLst>
                                    <p:cond delay="60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500"/>
                                        <p:tgtEl>
                                          <p:spTgt spid="10"/>
                                        </p:tgtEl>
                                      </p:cBhvr>
                                    </p:animEffect>
                                  </p:childTnLst>
                                </p:cTn>
                              </p:par>
                              <p:par>
                                <p:cTn id="17" presetID="22" presetClass="entr" presetSubtype="1" fill="hold" grpId="0" nodeType="withEffect">
                                  <p:stCondLst>
                                    <p:cond delay="600"/>
                                  </p:stCondLst>
                                  <p:childTnLst>
                                    <p:set>
                                      <p:cBhvr>
                                        <p:cTn id="18" dur="1" fill="hold">
                                          <p:stCondLst>
                                            <p:cond delay="0"/>
                                          </p:stCondLst>
                                        </p:cTn>
                                        <p:tgtEl>
                                          <p:spTgt spid="5"/>
                                        </p:tgtEl>
                                        <p:attrNameLst>
                                          <p:attrName>style.visibility</p:attrName>
                                        </p:attrNameLst>
                                      </p:cBhvr>
                                      <p:to>
                                        <p:strVal val="visible"/>
                                      </p:to>
                                    </p:set>
                                    <p:animEffect transition="in" filter="wipe(up)">
                                      <p:cBhvr>
                                        <p:cTn id="19" dur="500"/>
                                        <p:tgtEl>
                                          <p:spTgt spid="5"/>
                                        </p:tgtEl>
                                      </p:cBhvr>
                                    </p:animEffect>
                                  </p:childTnLst>
                                </p:cTn>
                              </p:par>
                              <p:par>
                                <p:cTn id="20" presetID="10" presetClass="entr" presetSubtype="0" fill="hold" nodeType="withEffect">
                                  <p:stCondLst>
                                    <p:cond delay="9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22" presetClass="entr" presetSubtype="1" fill="hold" grpId="0" nodeType="withEffect">
                                  <p:stCondLst>
                                    <p:cond delay="900"/>
                                  </p:stCondLst>
                                  <p:childTnLst>
                                    <p:set>
                                      <p:cBhvr>
                                        <p:cTn id="24" dur="1" fill="hold">
                                          <p:stCondLst>
                                            <p:cond delay="0"/>
                                          </p:stCondLst>
                                        </p:cTn>
                                        <p:tgtEl>
                                          <p:spTgt spid="7"/>
                                        </p:tgtEl>
                                        <p:attrNameLst>
                                          <p:attrName>style.visibility</p:attrName>
                                        </p:attrNameLst>
                                      </p:cBhvr>
                                      <p:to>
                                        <p:strVal val="visible"/>
                                      </p:to>
                                    </p:set>
                                    <p:animEffect transition="in" filter="wipe(up)">
                                      <p:cBhvr>
                                        <p:cTn id="25" dur="500"/>
                                        <p:tgtEl>
                                          <p:spTgt spid="7"/>
                                        </p:tgtEl>
                                      </p:cBhvr>
                                    </p:animEffect>
                                  </p:childTnLst>
                                </p:cTn>
                              </p:par>
                              <p:par>
                                <p:cTn id="26" presetID="22" presetClass="entr" presetSubtype="1" fill="hold" grpId="0" nodeType="withEffect">
                                  <p:stCondLst>
                                    <p:cond delay="1200"/>
                                  </p:stCondLst>
                                  <p:childTnLst>
                                    <p:set>
                                      <p:cBhvr>
                                        <p:cTn id="27" dur="1" fill="hold">
                                          <p:stCondLst>
                                            <p:cond delay="0"/>
                                          </p:stCondLst>
                                        </p:cTn>
                                        <p:tgtEl>
                                          <p:spTgt spid="4"/>
                                        </p:tgtEl>
                                        <p:attrNameLst>
                                          <p:attrName>style.visibility</p:attrName>
                                        </p:attrNameLst>
                                      </p:cBhvr>
                                      <p:to>
                                        <p:strVal val="visible"/>
                                      </p:to>
                                    </p:set>
                                    <p:animEffect transition="in" filter="wipe(up)">
                                      <p:cBhvr>
                                        <p:cTn id="2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5" grpId="0"/>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执行过程</a:t>
            </a:r>
          </a:p>
        </p:txBody>
      </p:sp>
      <p:grpSp>
        <p:nvGrpSpPr>
          <p:cNvPr id="21" name="组合 20"/>
          <p:cNvGrpSpPr/>
          <p:nvPr/>
        </p:nvGrpSpPr>
        <p:grpSpPr>
          <a:xfrm>
            <a:off x="257877" y="1485861"/>
            <a:ext cx="8634603" cy="2598057"/>
            <a:chOff x="257877" y="1341845"/>
            <a:chExt cx="8634603" cy="2598057"/>
          </a:xfrm>
        </p:grpSpPr>
        <p:sp>
          <p:nvSpPr>
            <p:cNvPr id="10" name="任意多边形 9"/>
            <p:cNvSpPr/>
            <p:nvPr/>
          </p:nvSpPr>
          <p:spPr>
            <a:xfrm>
              <a:off x="257877" y="1341845"/>
              <a:ext cx="8634603" cy="2598057"/>
            </a:xfrm>
            <a:custGeom>
              <a:avLst/>
              <a:gdLst>
                <a:gd name="connsiteX0" fmla="*/ 0 w 8679543"/>
                <a:gd name="connsiteY0" fmla="*/ 2598057 h 2598057"/>
                <a:gd name="connsiteX1" fmla="*/ 1088571 w 8679543"/>
                <a:gd name="connsiteY1" fmla="*/ 2598057 h 2598057"/>
                <a:gd name="connsiteX2" fmla="*/ 1088571 w 8679543"/>
                <a:gd name="connsiteY2" fmla="*/ 1727200 h 2598057"/>
                <a:gd name="connsiteX3" fmla="*/ 3236686 w 8679543"/>
                <a:gd name="connsiteY3" fmla="*/ 1727200 h 2598057"/>
                <a:gd name="connsiteX4" fmla="*/ 3236686 w 8679543"/>
                <a:gd name="connsiteY4" fmla="*/ 870857 h 2598057"/>
                <a:gd name="connsiteX5" fmla="*/ 5384800 w 8679543"/>
                <a:gd name="connsiteY5" fmla="*/ 870857 h 2598057"/>
                <a:gd name="connsiteX6" fmla="*/ 5384800 w 8679543"/>
                <a:gd name="connsiteY6" fmla="*/ 0 h 2598057"/>
                <a:gd name="connsiteX7" fmla="*/ 8679543 w 8679543"/>
                <a:gd name="connsiteY7" fmla="*/ 0 h 2598057"/>
                <a:gd name="connsiteX0-1" fmla="*/ 0 w 9203760"/>
                <a:gd name="connsiteY0-2" fmla="*/ 2598057 h 2598057"/>
                <a:gd name="connsiteX1-3" fmla="*/ 1612788 w 9203760"/>
                <a:gd name="connsiteY1-4" fmla="*/ 2598057 h 2598057"/>
                <a:gd name="connsiteX2-5" fmla="*/ 1612788 w 9203760"/>
                <a:gd name="connsiteY2-6" fmla="*/ 1727200 h 2598057"/>
                <a:gd name="connsiteX3-7" fmla="*/ 3760903 w 9203760"/>
                <a:gd name="connsiteY3-8" fmla="*/ 1727200 h 2598057"/>
                <a:gd name="connsiteX4-9" fmla="*/ 3760903 w 9203760"/>
                <a:gd name="connsiteY4-10" fmla="*/ 870857 h 2598057"/>
                <a:gd name="connsiteX5-11" fmla="*/ 5909017 w 9203760"/>
                <a:gd name="connsiteY5-12" fmla="*/ 870857 h 2598057"/>
                <a:gd name="connsiteX6-13" fmla="*/ 5909017 w 9203760"/>
                <a:gd name="connsiteY6-14" fmla="*/ 0 h 2598057"/>
                <a:gd name="connsiteX7-15" fmla="*/ 9203760 w 9203760"/>
                <a:gd name="connsiteY7-16" fmla="*/ 0 h 2598057"/>
                <a:gd name="connsiteX0-17" fmla="*/ 0 w 8324925"/>
                <a:gd name="connsiteY0-18" fmla="*/ 2598057 h 2598057"/>
                <a:gd name="connsiteX1-19" fmla="*/ 1612788 w 8324925"/>
                <a:gd name="connsiteY1-20" fmla="*/ 2598057 h 2598057"/>
                <a:gd name="connsiteX2-21" fmla="*/ 1612788 w 8324925"/>
                <a:gd name="connsiteY2-22" fmla="*/ 1727200 h 2598057"/>
                <a:gd name="connsiteX3-23" fmla="*/ 3760903 w 8324925"/>
                <a:gd name="connsiteY3-24" fmla="*/ 1727200 h 2598057"/>
                <a:gd name="connsiteX4-25" fmla="*/ 3760903 w 8324925"/>
                <a:gd name="connsiteY4-26" fmla="*/ 870857 h 2598057"/>
                <a:gd name="connsiteX5-27" fmla="*/ 5909017 w 8324925"/>
                <a:gd name="connsiteY5-28" fmla="*/ 870857 h 2598057"/>
                <a:gd name="connsiteX6-29" fmla="*/ 5909017 w 8324925"/>
                <a:gd name="connsiteY6-30" fmla="*/ 0 h 2598057"/>
                <a:gd name="connsiteX7-31" fmla="*/ 8324925 w 8324925"/>
                <a:gd name="connsiteY7-32" fmla="*/ 0 h 2598057"/>
                <a:gd name="connsiteX0-33" fmla="*/ 0 w 9095833"/>
                <a:gd name="connsiteY0-34" fmla="*/ 2598057 h 2598057"/>
                <a:gd name="connsiteX1-35" fmla="*/ 2383696 w 9095833"/>
                <a:gd name="connsiteY1-36" fmla="*/ 2598057 h 2598057"/>
                <a:gd name="connsiteX2-37" fmla="*/ 2383696 w 9095833"/>
                <a:gd name="connsiteY2-38" fmla="*/ 1727200 h 2598057"/>
                <a:gd name="connsiteX3-39" fmla="*/ 4531811 w 9095833"/>
                <a:gd name="connsiteY3-40" fmla="*/ 1727200 h 2598057"/>
                <a:gd name="connsiteX4-41" fmla="*/ 4531811 w 9095833"/>
                <a:gd name="connsiteY4-42" fmla="*/ 870857 h 2598057"/>
                <a:gd name="connsiteX5-43" fmla="*/ 6679925 w 9095833"/>
                <a:gd name="connsiteY5-44" fmla="*/ 870857 h 2598057"/>
                <a:gd name="connsiteX6-45" fmla="*/ 6679925 w 9095833"/>
                <a:gd name="connsiteY6-46" fmla="*/ 0 h 2598057"/>
                <a:gd name="connsiteX7-47" fmla="*/ 9095833 w 9095833"/>
                <a:gd name="connsiteY7-48" fmla="*/ 0 h 259805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Lst>
              <a:rect l="l" t="t" r="r" b="b"/>
              <a:pathLst>
                <a:path w="9095833" h="2598057">
                  <a:moveTo>
                    <a:pt x="0" y="2598057"/>
                  </a:moveTo>
                  <a:lnTo>
                    <a:pt x="2383696" y="2598057"/>
                  </a:lnTo>
                  <a:lnTo>
                    <a:pt x="2383696" y="1727200"/>
                  </a:lnTo>
                  <a:lnTo>
                    <a:pt x="4531811" y="1727200"/>
                  </a:lnTo>
                  <a:lnTo>
                    <a:pt x="4531811" y="870857"/>
                  </a:lnTo>
                  <a:lnTo>
                    <a:pt x="6679925" y="870857"/>
                  </a:lnTo>
                  <a:lnTo>
                    <a:pt x="6679925" y="0"/>
                  </a:lnTo>
                  <a:lnTo>
                    <a:pt x="9095833" y="0"/>
                  </a:lnTo>
                </a:path>
              </a:pathLst>
            </a:custGeom>
            <a:noFill/>
            <a:ln w="9525" cap="flat" cmpd="sng" algn="ctr">
              <a:solidFill>
                <a:schemeClr val="bg1">
                  <a:lumMod val="65000"/>
                </a:schemeClr>
              </a:solidFill>
              <a:prstDash val="solid"/>
            </a:ln>
            <a:effectLst/>
          </p:spPr>
          <p:txBody>
            <a:bodyPr rtlCol="0" anchor="ctr"/>
            <a:lstStyle/>
            <a:p>
              <a:pPr algn="ctr"/>
              <a:endParaRPr lang="zh-CN" altLang="en-US"/>
            </a:p>
          </p:txBody>
        </p:sp>
        <p:sp>
          <p:nvSpPr>
            <p:cNvPr id="11" name="直角三角形 10"/>
            <p:cNvSpPr/>
            <p:nvPr/>
          </p:nvSpPr>
          <p:spPr>
            <a:xfrm rot="5400000">
              <a:off x="2524427" y="3075806"/>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直角三角形 11"/>
            <p:cNvSpPr/>
            <p:nvPr/>
          </p:nvSpPr>
          <p:spPr>
            <a:xfrm rot="5400000">
              <a:off x="4551649" y="2211710"/>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直角三角形 12"/>
            <p:cNvSpPr/>
            <p:nvPr/>
          </p:nvSpPr>
          <p:spPr>
            <a:xfrm rot="5400000">
              <a:off x="6595480" y="1341845"/>
              <a:ext cx="288032" cy="288032"/>
            </a:xfrm>
            <a:prstGeom prst="r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7" name="Freeform 6"/>
          <p:cNvSpPr>
            <a:spLocks noChangeAspect="1" noEditPoints="1"/>
          </p:cNvSpPr>
          <p:nvPr/>
        </p:nvSpPr>
        <p:spPr bwMode="auto">
          <a:xfrm>
            <a:off x="1043608" y="3387700"/>
            <a:ext cx="640620" cy="642482"/>
          </a:xfrm>
          <a:custGeom>
            <a:avLst/>
            <a:gdLst>
              <a:gd name="T0" fmla="*/ 269 w 534"/>
              <a:gd name="T1" fmla="*/ 536 h 536"/>
              <a:gd name="T2" fmla="*/ 534 w 534"/>
              <a:gd name="T3" fmla="*/ 266 h 536"/>
              <a:gd name="T4" fmla="*/ 269 w 534"/>
              <a:gd name="T5" fmla="*/ 0 h 536"/>
              <a:gd name="T6" fmla="*/ 0 w 534"/>
              <a:gd name="T7" fmla="*/ 266 h 536"/>
              <a:gd name="T8" fmla="*/ 269 w 534"/>
              <a:gd name="T9" fmla="*/ 536 h 536"/>
              <a:gd name="T10" fmla="*/ 269 w 534"/>
              <a:gd name="T11" fmla="*/ 32 h 536"/>
              <a:gd name="T12" fmla="*/ 501 w 534"/>
              <a:gd name="T13" fmla="*/ 266 h 536"/>
              <a:gd name="T14" fmla="*/ 269 w 534"/>
              <a:gd name="T15" fmla="*/ 503 h 536"/>
              <a:gd name="T16" fmla="*/ 32 w 534"/>
              <a:gd name="T17" fmla="*/ 266 h 536"/>
              <a:gd name="T18" fmla="*/ 269 w 534"/>
              <a:gd name="T19" fmla="*/ 32 h 536"/>
              <a:gd name="T20" fmla="*/ 394 w 534"/>
              <a:gd name="T21" fmla="*/ 250 h 536"/>
              <a:gd name="T22" fmla="*/ 268 w 534"/>
              <a:gd name="T23" fmla="*/ 124 h 536"/>
              <a:gd name="T24" fmla="*/ 142 w 534"/>
              <a:gd name="T25" fmla="*/ 250 h 536"/>
              <a:gd name="T26" fmla="*/ 268 w 534"/>
              <a:gd name="T27" fmla="*/ 376 h 536"/>
              <a:gd name="T28" fmla="*/ 291 w 534"/>
              <a:gd name="T29" fmla="*/ 374 h 536"/>
              <a:gd name="T30" fmla="*/ 363 w 534"/>
              <a:gd name="T31" fmla="*/ 413 h 536"/>
              <a:gd name="T32" fmla="*/ 345 w 534"/>
              <a:gd name="T33" fmla="*/ 349 h 536"/>
              <a:gd name="T34" fmla="*/ 394 w 534"/>
              <a:gd name="T35" fmla="*/ 250 h 536"/>
              <a:gd name="T36" fmla="*/ 268 w 534"/>
              <a:gd name="T37" fmla="*/ 309 h 536"/>
              <a:gd name="T38" fmla="*/ 206 w 534"/>
              <a:gd name="T39" fmla="*/ 309 h 536"/>
              <a:gd name="T40" fmla="*/ 206 w 534"/>
              <a:gd name="T41" fmla="*/ 285 h 536"/>
              <a:gd name="T42" fmla="*/ 268 w 534"/>
              <a:gd name="T43" fmla="*/ 285 h 536"/>
              <a:gd name="T44" fmla="*/ 268 w 534"/>
              <a:gd name="T45" fmla="*/ 309 h 536"/>
              <a:gd name="T46" fmla="*/ 268 w 534"/>
              <a:gd name="T47" fmla="*/ 309 h 536"/>
              <a:gd name="T48" fmla="*/ 330 w 534"/>
              <a:gd name="T49" fmla="*/ 265 h 536"/>
              <a:gd name="T50" fmla="*/ 206 w 534"/>
              <a:gd name="T51" fmla="*/ 265 h 536"/>
              <a:gd name="T52" fmla="*/ 206 w 534"/>
              <a:gd name="T53" fmla="*/ 241 h 536"/>
              <a:gd name="T54" fmla="*/ 330 w 534"/>
              <a:gd name="T55" fmla="*/ 241 h 536"/>
              <a:gd name="T56" fmla="*/ 330 w 534"/>
              <a:gd name="T57" fmla="*/ 265 h 536"/>
              <a:gd name="T58" fmla="*/ 330 w 534"/>
              <a:gd name="T59" fmla="*/ 265 h 536"/>
              <a:gd name="T60" fmla="*/ 330 w 534"/>
              <a:gd name="T61" fmla="*/ 222 h 536"/>
              <a:gd name="T62" fmla="*/ 206 w 534"/>
              <a:gd name="T63" fmla="*/ 222 h 536"/>
              <a:gd name="T64" fmla="*/ 206 w 534"/>
              <a:gd name="T65" fmla="*/ 197 h 536"/>
              <a:gd name="T66" fmla="*/ 330 w 534"/>
              <a:gd name="T67" fmla="*/ 197 h 536"/>
              <a:gd name="T68" fmla="*/ 330 w 534"/>
              <a:gd name="T69" fmla="*/ 222 h 536"/>
              <a:gd name="T70" fmla="*/ 330 w 534"/>
              <a:gd name="T71" fmla="*/ 2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394" y="250"/>
                </a:moveTo>
                <a:cubicBezTo>
                  <a:pt x="394" y="180"/>
                  <a:pt x="337" y="124"/>
                  <a:pt x="268" y="124"/>
                </a:cubicBezTo>
                <a:cubicBezTo>
                  <a:pt x="198" y="124"/>
                  <a:pt x="142" y="180"/>
                  <a:pt x="142" y="250"/>
                </a:cubicBezTo>
                <a:cubicBezTo>
                  <a:pt x="142" y="319"/>
                  <a:pt x="198" y="376"/>
                  <a:pt x="268" y="376"/>
                </a:cubicBezTo>
                <a:cubicBezTo>
                  <a:pt x="276" y="376"/>
                  <a:pt x="284" y="375"/>
                  <a:pt x="291" y="374"/>
                </a:cubicBezTo>
                <a:cubicBezTo>
                  <a:pt x="363" y="413"/>
                  <a:pt x="363" y="413"/>
                  <a:pt x="363" y="413"/>
                </a:cubicBezTo>
                <a:cubicBezTo>
                  <a:pt x="345" y="349"/>
                  <a:pt x="345" y="349"/>
                  <a:pt x="345" y="349"/>
                </a:cubicBezTo>
                <a:cubicBezTo>
                  <a:pt x="374" y="326"/>
                  <a:pt x="394" y="290"/>
                  <a:pt x="394" y="250"/>
                </a:cubicBezTo>
                <a:close/>
                <a:moveTo>
                  <a:pt x="268" y="309"/>
                </a:moveTo>
                <a:cubicBezTo>
                  <a:pt x="206" y="309"/>
                  <a:pt x="206" y="309"/>
                  <a:pt x="206" y="309"/>
                </a:cubicBezTo>
                <a:cubicBezTo>
                  <a:pt x="206" y="285"/>
                  <a:pt x="206" y="285"/>
                  <a:pt x="206" y="285"/>
                </a:cubicBezTo>
                <a:cubicBezTo>
                  <a:pt x="268" y="285"/>
                  <a:pt x="268" y="285"/>
                  <a:pt x="268" y="285"/>
                </a:cubicBezTo>
                <a:cubicBezTo>
                  <a:pt x="268" y="309"/>
                  <a:pt x="268" y="309"/>
                  <a:pt x="268" y="309"/>
                </a:cubicBezTo>
                <a:cubicBezTo>
                  <a:pt x="268" y="309"/>
                  <a:pt x="268" y="309"/>
                  <a:pt x="268" y="309"/>
                </a:cubicBezTo>
                <a:close/>
                <a:moveTo>
                  <a:pt x="330" y="265"/>
                </a:moveTo>
                <a:cubicBezTo>
                  <a:pt x="206" y="265"/>
                  <a:pt x="206" y="265"/>
                  <a:pt x="206" y="265"/>
                </a:cubicBezTo>
                <a:cubicBezTo>
                  <a:pt x="206" y="241"/>
                  <a:pt x="206" y="241"/>
                  <a:pt x="206" y="241"/>
                </a:cubicBezTo>
                <a:cubicBezTo>
                  <a:pt x="330" y="241"/>
                  <a:pt x="330" y="241"/>
                  <a:pt x="330" y="241"/>
                </a:cubicBezTo>
                <a:cubicBezTo>
                  <a:pt x="330" y="265"/>
                  <a:pt x="330" y="265"/>
                  <a:pt x="330" y="265"/>
                </a:cubicBezTo>
                <a:cubicBezTo>
                  <a:pt x="330" y="265"/>
                  <a:pt x="330" y="265"/>
                  <a:pt x="330" y="265"/>
                </a:cubicBezTo>
                <a:close/>
                <a:moveTo>
                  <a:pt x="330" y="222"/>
                </a:moveTo>
                <a:cubicBezTo>
                  <a:pt x="206" y="222"/>
                  <a:pt x="206" y="222"/>
                  <a:pt x="206" y="222"/>
                </a:cubicBezTo>
                <a:cubicBezTo>
                  <a:pt x="206" y="197"/>
                  <a:pt x="206" y="197"/>
                  <a:pt x="206" y="197"/>
                </a:cubicBezTo>
                <a:cubicBezTo>
                  <a:pt x="330" y="197"/>
                  <a:pt x="330" y="197"/>
                  <a:pt x="330" y="197"/>
                </a:cubicBezTo>
                <a:cubicBezTo>
                  <a:pt x="330" y="222"/>
                  <a:pt x="330" y="222"/>
                  <a:pt x="330" y="222"/>
                </a:cubicBezTo>
                <a:cubicBezTo>
                  <a:pt x="330" y="222"/>
                  <a:pt x="330" y="222"/>
                  <a:pt x="330" y="222"/>
                </a:cubicBezTo>
                <a:close/>
              </a:path>
            </a:pathLst>
          </a:custGeom>
          <a:solidFill>
            <a:schemeClr val="accent1"/>
          </a:solidFill>
          <a:ln>
            <a:noFill/>
          </a:ln>
        </p:spPr>
        <p:txBody>
          <a:bodyPr vert="horz" wrap="square" lIns="109691" tIns="54846" rIns="109691" bIns="54846" numCol="1" anchor="t" anchorCtr="0" compatLnSpc="1"/>
          <a:lstStyle/>
          <a:p>
            <a:pPr marL="0" marR="0" lvl="0" indent="0" defTabSz="1096645" eaLnBrk="1" fontAlgn="auto" latinLnBrk="0" hangingPunct="1">
              <a:lnSpc>
                <a:spcPct val="100000"/>
              </a:lnSpc>
              <a:spcBef>
                <a:spcPts val="0"/>
              </a:spcBef>
              <a:spcAft>
                <a:spcPts val="0"/>
              </a:spcAft>
              <a:buClrTx/>
              <a:buSzTx/>
              <a:buFontTx/>
              <a:buNone/>
              <a:defRPr/>
            </a:pPr>
            <a:endParaRPr kumimoji="0" lang="en-US" sz="1100" b="0" i="0" u="none" strike="noStrike" kern="0" cap="none" spc="0" normalizeH="0" baseline="0" noProof="0">
              <a:ln>
                <a:noFill/>
              </a:ln>
              <a:solidFill>
                <a:srgbClr val="000000"/>
              </a:solidFill>
              <a:effectLst/>
              <a:uLnTx/>
              <a:uFillTx/>
            </a:endParaRPr>
          </a:p>
        </p:txBody>
      </p:sp>
      <p:sp>
        <p:nvSpPr>
          <p:cNvPr id="18" name="Freeform 11"/>
          <p:cNvSpPr>
            <a:spLocks noChangeAspect="1" noEditPoints="1"/>
          </p:cNvSpPr>
          <p:nvPr/>
        </p:nvSpPr>
        <p:spPr bwMode="auto">
          <a:xfrm>
            <a:off x="3215058" y="2540068"/>
            <a:ext cx="639608" cy="642484"/>
          </a:xfrm>
          <a:custGeom>
            <a:avLst/>
            <a:gdLst>
              <a:gd name="T0" fmla="*/ 269 w 534"/>
              <a:gd name="T1" fmla="*/ 536 h 536"/>
              <a:gd name="T2" fmla="*/ 534 w 534"/>
              <a:gd name="T3" fmla="*/ 266 h 536"/>
              <a:gd name="T4" fmla="*/ 269 w 534"/>
              <a:gd name="T5" fmla="*/ 0 h 536"/>
              <a:gd name="T6" fmla="*/ 0 w 534"/>
              <a:gd name="T7" fmla="*/ 266 h 536"/>
              <a:gd name="T8" fmla="*/ 269 w 534"/>
              <a:gd name="T9" fmla="*/ 536 h 536"/>
              <a:gd name="T10" fmla="*/ 269 w 534"/>
              <a:gd name="T11" fmla="*/ 32 h 536"/>
              <a:gd name="T12" fmla="*/ 501 w 534"/>
              <a:gd name="T13" fmla="*/ 266 h 536"/>
              <a:gd name="T14" fmla="*/ 269 w 534"/>
              <a:gd name="T15" fmla="*/ 503 h 536"/>
              <a:gd name="T16" fmla="*/ 32 w 534"/>
              <a:gd name="T17" fmla="*/ 266 h 536"/>
              <a:gd name="T18" fmla="*/ 269 w 534"/>
              <a:gd name="T19" fmla="*/ 32 h 536"/>
              <a:gd name="T20" fmla="*/ 307 w 534"/>
              <a:gd name="T21" fmla="*/ 251 h 536"/>
              <a:gd name="T22" fmla="*/ 327 w 534"/>
              <a:gd name="T23" fmla="*/ 282 h 536"/>
              <a:gd name="T24" fmla="*/ 406 w 534"/>
              <a:gd name="T25" fmla="*/ 172 h 536"/>
              <a:gd name="T26" fmla="*/ 449 w 534"/>
              <a:gd name="T27" fmla="*/ 172 h 536"/>
              <a:gd name="T28" fmla="*/ 350 w 534"/>
              <a:gd name="T29" fmla="*/ 314 h 536"/>
              <a:gd name="T30" fmla="*/ 307 w 534"/>
              <a:gd name="T31" fmla="*/ 314 h 536"/>
              <a:gd name="T32" fmla="*/ 267 w 534"/>
              <a:gd name="T33" fmla="*/ 251 h 536"/>
              <a:gd name="T34" fmla="*/ 307 w 534"/>
              <a:gd name="T35" fmla="*/ 251 h 536"/>
              <a:gd name="T36" fmla="*/ 240 w 534"/>
              <a:gd name="T37" fmla="*/ 235 h 536"/>
              <a:gd name="T38" fmla="*/ 311 w 534"/>
              <a:gd name="T39" fmla="*/ 357 h 536"/>
              <a:gd name="T40" fmla="*/ 295 w 534"/>
              <a:gd name="T41" fmla="*/ 373 h 536"/>
              <a:gd name="T42" fmla="*/ 263 w 534"/>
              <a:gd name="T43" fmla="*/ 361 h 536"/>
              <a:gd name="T44" fmla="*/ 240 w 534"/>
              <a:gd name="T45" fmla="*/ 373 h 536"/>
              <a:gd name="T46" fmla="*/ 232 w 534"/>
              <a:gd name="T47" fmla="*/ 404 h 536"/>
              <a:gd name="T48" fmla="*/ 208 w 534"/>
              <a:gd name="T49" fmla="*/ 408 h 536"/>
              <a:gd name="T50" fmla="*/ 196 w 534"/>
              <a:gd name="T51" fmla="*/ 377 h 536"/>
              <a:gd name="T52" fmla="*/ 168 w 534"/>
              <a:gd name="T53" fmla="*/ 369 h 536"/>
              <a:gd name="T54" fmla="*/ 141 w 534"/>
              <a:gd name="T55" fmla="*/ 389 h 536"/>
              <a:gd name="T56" fmla="*/ 121 w 534"/>
              <a:gd name="T57" fmla="*/ 373 h 536"/>
              <a:gd name="T58" fmla="*/ 137 w 534"/>
              <a:gd name="T59" fmla="*/ 341 h 536"/>
              <a:gd name="T60" fmla="*/ 121 w 534"/>
              <a:gd name="T61" fmla="*/ 318 h 536"/>
              <a:gd name="T62" fmla="*/ 89 w 534"/>
              <a:gd name="T63" fmla="*/ 310 h 536"/>
              <a:gd name="T64" fmla="*/ 85 w 534"/>
              <a:gd name="T65" fmla="*/ 290 h 536"/>
              <a:gd name="T66" fmla="*/ 117 w 534"/>
              <a:gd name="T67" fmla="*/ 274 h 536"/>
              <a:gd name="T68" fmla="*/ 125 w 534"/>
              <a:gd name="T69" fmla="*/ 247 h 536"/>
              <a:gd name="T70" fmla="*/ 105 w 534"/>
              <a:gd name="T71" fmla="*/ 219 h 536"/>
              <a:gd name="T72" fmla="*/ 121 w 534"/>
              <a:gd name="T73" fmla="*/ 203 h 536"/>
              <a:gd name="T74" fmla="*/ 153 w 534"/>
              <a:gd name="T75" fmla="*/ 215 h 536"/>
              <a:gd name="T76" fmla="*/ 176 w 534"/>
              <a:gd name="T77" fmla="*/ 199 h 536"/>
              <a:gd name="T78" fmla="*/ 184 w 534"/>
              <a:gd name="T79" fmla="*/ 168 h 536"/>
              <a:gd name="T80" fmla="*/ 208 w 534"/>
              <a:gd name="T81" fmla="*/ 168 h 536"/>
              <a:gd name="T82" fmla="*/ 220 w 534"/>
              <a:gd name="T83" fmla="*/ 196 h 536"/>
              <a:gd name="T84" fmla="*/ 247 w 534"/>
              <a:gd name="T85" fmla="*/ 203 h 536"/>
              <a:gd name="T86" fmla="*/ 275 w 534"/>
              <a:gd name="T87" fmla="*/ 188 h 536"/>
              <a:gd name="T88" fmla="*/ 295 w 534"/>
              <a:gd name="T89" fmla="*/ 199 h 536"/>
              <a:gd name="T90" fmla="*/ 279 w 534"/>
              <a:gd name="T91" fmla="*/ 231 h 536"/>
              <a:gd name="T92" fmla="*/ 240 w 534"/>
              <a:gd name="T93" fmla="*/ 235 h 536"/>
              <a:gd name="T94" fmla="*/ 228 w 534"/>
              <a:gd name="T95" fmla="*/ 302 h 536"/>
              <a:gd name="T96" fmla="*/ 224 w 534"/>
              <a:gd name="T97" fmla="*/ 267 h 536"/>
              <a:gd name="T98" fmla="*/ 188 w 534"/>
              <a:gd name="T99" fmla="*/ 270 h 536"/>
              <a:gd name="T100" fmla="*/ 192 w 534"/>
              <a:gd name="T101" fmla="*/ 306 h 536"/>
              <a:gd name="T102" fmla="*/ 228 w 534"/>
              <a:gd name="T103" fmla="*/ 30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307" y="251"/>
                </a:moveTo>
                <a:cubicBezTo>
                  <a:pt x="327" y="282"/>
                  <a:pt x="327" y="282"/>
                  <a:pt x="327" y="282"/>
                </a:cubicBezTo>
                <a:cubicBezTo>
                  <a:pt x="406" y="172"/>
                  <a:pt x="406" y="172"/>
                  <a:pt x="406" y="172"/>
                </a:cubicBezTo>
                <a:cubicBezTo>
                  <a:pt x="406" y="172"/>
                  <a:pt x="406" y="172"/>
                  <a:pt x="449" y="172"/>
                </a:cubicBezTo>
                <a:cubicBezTo>
                  <a:pt x="350" y="314"/>
                  <a:pt x="350" y="314"/>
                  <a:pt x="350" y="314"/>
                </a:cubicBezTo>
                <a:cubicBezTo>
                  <a:pt x="307" y="314"/>
                  <a:pt x="307" y="314"/>
                  <a:pt x="307" y="314"/>
                </a:cubicBezTo>
                <a:cubicBezTo>
                  <a:pt x="267" y="251"/>
                  <a:pt x="267" y="251"/>
                  <a:pt x="267" y="251"/>
                </a:cubicBezTo>
                <a:cubicBezTo>
                  <a:pt x="307" y="251"/>
                  <a:pt x="307" y="251"/>
                  <a:pt x="307" y="251"/>
                </a:cubicBezTo>
                <a:close/>
                <a:moveTo>
                  <a:pt x="240" y="235"/>
                </a:moveTo>
                <a:cubicBezTo>
                  <a:pt x="240" y="235"/>
                  <a:pt x="291" y="326"/>
                  <a:pt x="311" y="357"/>
                </a:cubicBezTo>
                <a:cubicBezTo>
                  <a:pt x="307" y="361"/>
                  <a:pt x="299" y="365"/>
                  <a:pt x="295" y="373"/>
                </a:cubicBezTo>
                <a:cubicBezTo>
                  <a:pt x="295" y="373"/>
                  <a:pt x="295" y="373"/>
                  <a:pt x="263" y="361"/>
                </a:cubicBezTo>
                <a:cubicBezTo>
                  <a:pt x="255" y="365"/>
                  <a:pt x="247" y="369"/>
                  <a:pt x="240" y="373"/>
                </a:cubicBezTo>
                <a:cubicBezTo>
                  <a:pt x="240" y="373"/>
                  <a:pt x="240" y="373"/>
                  <a:pt x="232" y="404"/>
                </a:cubicBezTo>
                <a:cubicBezTo>
                  <a:pt x="224" y="408"/>
                  <a:pt x="216" y="408"/>
                  <a:pt x="208" y="408"/>
                </a:cubicBezTo>
                <a:cubicBezTo>
                  <a:pt x="208" y="408"/>
                  <a:pt x="208" y="408"/>
                  <a:pt x="196" y="377"/>
                </a:cubicBezTo>
                <a:cubicBezTo>
                  <a:pt x="184" y="377"/>
                  <a:pt x="176" y="373"/>
                  <a:pt x="168" y="369"/>
                </a:cubicBezTo>
                <a:cubicBezTo>
                  <a:pt x="168" y="369"/>
                  <a:pt x="168" y="369"/>
                  <a:pt x="141" y="389"/>
                </a:cubicBezTo>
                <a:cubicBezTo>
                  <a:pt x="133" y="385"/>
                  <a:pt x="129" y="377"/>
                  <a:pt x="121" y="373"/>
                </a:cubicBezTo>
                <a:cubicBezTo>
                  <a:pt x="121" y="373"/>
                  <a:pt x="121" y="373"/>
                  <a:pt x="137" y="341"/>
                </a:cubicBezTo>
                <a:cubicBezTo>
                  <a:pt x="129" y="334"/>
                  <a:pt x="125" y="326"/>
                  <a:pt x="121" y="318"/>
                </a:cubicBezTo>
                <a:cubicBezTo>
                  <a:pt x="121" y="318"/>
                  <a:pt x="121" y="318"/>
                  <a:pt x="89" y="310"/>
                </a:cubicBezTo>
                <a:cubicBezTo>
                  <a:pt x="85" y="302"/>
                  <a:pt x="85" y="298"/>
                  <a:pt x="85" y="290"/>
                </a:cubicBezTo>
                <a:cubicBezTo>
                  <a:pt x="85" y="290"/>
                  <a:pt x="85" y="290"/>
                  <a:pt x="117" y="274"/>
                </a:cubicBezTo>
                <a:cubicBezTo>
                  <a:pt x="117" y="267"/>
                  <a:pt x="121" y="255"/>
                  <a:pt x="125" y="247"/>
                </a:cubicBezTo>
                <a:cubicBezTo>
                  <a:pt x="125" y="247"/>
                  <a:pt x="125" y="247"/>
                  <a:pt x="105" y="219"/>
                </a:cubicBezTo>
                <a:cubicBezTo>
                  <a:pt x="113" y="215"/>
                  <a:pt x="117" y="207"/>
                  <a:pt x="121" y="203"/>
                </a:cubicBezTo>
                <a:cubicBezTo>
                  <a:pt x="121" y="203"/>
                  <a:pt x="121" y="203"/>
                  <a:pt x="153" y="215"/>
                </a:cubicBezTo>
                <a:cubicBezTo>
                  <a:pt x="160" y="207"/>
                  <a:pt x="168" y="203"/>
                  <a:pt x="176" y="199"/>
                </a:cubicBezTo>
                <a:cubicBezTo>
                  <a:pt x="176" y="199"/>
                  <a:pt x="176" y="199"/>
                  <a:pt x="184" y="168"/>
                </a:cubicBezTo>
                <a:cubicBezTo>
                  <a:pt x="192" y="168"/>
                  <a:pt x="200" y="168"/>
                  <a:pt x="208" y="168"/>
                </a:cubicBezTo>
                <a:cubicBezTo>
                  <a:pt x="208" y="168"/>
                  <a:pt x="208" y="168"/>
                  <a:pt x="220" y="196"/>
                </a:cubicBezTo>
                <a:cubicBezTo>
                  <a:pt x="232" y="199"/>
                  <a:pt x="240" y="199"/>
                  <a:pt x="247" y="203"/>
                </a:cubicBezTo>
                <a:cubicBezTo>
                  <a:pt x="247" y="203"/>
                  <a:pt x="247" y="203"/>
                  <a:pt x="275" y="188"/>
                </a:cubicBezTo>
                <a:cubicBezTo>
                  <a:pt x="283" y="192"/>
                  <a:pt x="287" y="196"/>
                  <a:pt x="295" y="199"/>
                </a:cubicBezTo>
                <a:cubicBezTo>
                  <a:pt x="295" y="199"/>
                  <a:pt x="295" y="199"/>
                  <a:pt x="279" y="231"/>
                </a:cubicBezTo>
                <a:cubicBezTo>
                  <a:pt x="283" y="235"/>
                  <a:pt x="240" y="235"/>
                  <a:pt x="240" y="235"/>
                </a:cubicBezTo>
                <a:close/>
                <a:moveTo>
                  <a:pt x="228" y="302"/>
                </a:moveTo>
                <a:cubicBezTo>
                  <a:pt x="240" y="290"/>
                  <a:pt x="236" y="274"/>
                  <a:pt x="224" y="267"/>
                </a:cubicBezTo>
                <a:cubicBezTo>
                  <a:pt x="212" y="259"/>
                  <a:pt x="196" y="259"/>
                  <a:pt x="188" y="270"/>
                </a:cubicBezTo>
                <a:cubicBezTo>
                  <a:pt x="176" y="282"/>
                  <a:pt x="180" y="298"/>
                  <a:pt x="192" y="306"/>
                </a:cubicBezTo>
                <a:cubicBezTo>
                  <a:pt x="204" y="318"/>
                  <a:pt x="220" y="314"/>
                  <a:pt x="228" y="302"/>
                </a:cubicBezTo>
                <a:close/>
              </a:path>
            </a:pathLst>
          </a:custGeom>
          <a:solidFill>
            <a:schemeClr val="accent1"/>
          </a:solidFill>
          <a:ln>
            <a:noFill/>
          </a:ln>
        </p:spPr>
        <p:txBody>
          <a:bodyPr vert="horz" wrap="square" lIns="109691" tIns="54846" rIns="109691" bIns="54846" numCol="1" anchor="t" anchorCtr="0" compatLnSpc="1"/>
          <a:lstStyle/>
          <a:p>
            <a:pPr marL="0" marR="0" lvl="0" indent="0" defTabSz="1096645" eaLnBrk="1" fontAlgn="auto" latinLnBrk="0" hangingPunct="1">
              <a:lnSpc>
                <a:spcPct val="100000"/>
              </a:lnSpc>
              <a:spcBef>
                <a:spcPts val="0"/>
              </a:spcBef>
              <a:spcAft>
                <a:spcPts val="0"/>
              </a:spcAft>
              <a:buClrTx/>
              <a:buSzTx/>
              <a:buFontTx/>
              <a:buNone/>
              <a:defRPr/>
            </a:pPr>
            <a:endParaRPr kumimoji="0" lang="en-US" sz="1100" b="0" i="0" u="none" strike="noStrike" kern="0" cap="none" spc="0" normalizeH="0" baseline="0" noProof="0">
              <a:ln>
                <a:noFill/>
              </a:ln>
              <a:solidFill>
                <a:srgbClr val="000000"/>
              </a:solidFill>
              <a:effectLst/>
              <a:uLnTx/>
              <a:uFillTx/>
            </a:endParaRPr>
          </a:p>
        </p:txBody>
      </p:sp>
      <p:sp>
        <p:nvSpPr>
          <p:cNvPr id="19" name="Freeform 16"/>
          <p:cNvSpPr>
            <a:spLocks noChangeAspect="1" noEditPoints="1"/>
          </p:cNvSpPr>
          <p:nvPr/>
        </p:nvSpPr>
        <p:spPr bwMode="auto">
          <a:xfrm>
            <a:off x="7596336" y="771550"/>
            <a:ext cx="640116" cy="642484"/>
          </a:xfrm>
          <a:custGeom>
            <a:avLst/>
            <a:gdLst>
              <a:gd name="T0" fmla="*/ 534 w 534"/>
              <a:gd name="T1" fmla="*/ 266 h 536"/>
              <a:gd name="T2" fmla="*/ 0 w 534"/>
              <a:gd name="T3" fmla="*/ 266 h 536"/>
              <a:gd name="T4" fmla="*/ 269 w 534"/>
              <a:gd name="T5" fmla="*/ 32 h 536"/>
              <a:gd name="T6" fmla="*/ 269 w 534"/>
              <a:gd name="T7" fmla="*/ 503 h 536"/>
              <a:gd name="T8" fmla="*/ 269 w 534"/>
              <a:gd name="T9" fmla="*/ 32 h 536"/>
              <a:gd name="T10" fmla="*/ 261 w 534"/>
              <a:gd name="T11" fmla="*/ 158 h 536"/>
              <a:gd name="T12" fmla="*/ 149 w 534"/>
              <a:gd name="T13" fmla="*/ 191 h 536"/>
              <a:gd name="T14" fmla="*/ 127 w 534"/>
              <a:gd name="T15" fmla="*/ 156 h 536"/>
              <a:gd name="T16" fmla="*/ 237 w 534"/>
              <a:gd name="T17" fmla="*/ 132 h 536"/>
              <a:gd name="T18" fmla="*/ 261 w 534"/>
              <a:gd name="T19" fmla="*/ 150 h 536"/>
              <a:gd name="T20" fmla="*/ 391 w 534"/>
              <a:gd name="T21" fmla="*/ 191 h 536"/>
              <a:gd name="T22" fmla="*/ 411 w 534"/>
              <a:gd name="T23" fmla="*/ 150 h 536"/>
              <a:gd name="T24" fmla="*/ 296 w 534"/>
              <a:gd name="T25" fmla="*/ 128 h 536"/>
              <a:gd name="T26" fmla="*/ 283 w 534"/>
              <a:gd name="T27" fmla="*/ 158 h 536"/>
              <a:gd name="T28" fmla="*/ 391 w 534"/>
              <a:gd name="T29" fmla="*/ 191 h 536"/>
              <a:gd name="T30" fmla="*/ 338 w 534"/>
              <a:gd name="T31" fmla="*/ 291 h 536"/>
              <a:gd name="T32" fmla="*/ 422 w 534"/>
              <a:gd name="T33" fmla="*/ 238 h 536"/>
              <a:gd name="T34" fmla="*/ 377 w 534"/>
              <a:gd name="T35" fmla="*/ 203 h 536"/>
              <a:gd name="T36" fmla="*/ 281 w 534"/>
              <a:gd name="T37" fmla="*/ 258 h 536"/>
              <a:gd name="T38" fmla="*/ 322 w 534"/>
              <a:gd name="T39" fmla="*/ 288 h 536"/>
              <a:gd name="T40" fmla="*/ 218 w 534"/>
              <a:gd name="T41" fmla="*/ 297 h 536"/>
              <a:gd name="T42" fmla="*/ 261 w 534"/>
              <a:gd name="T43" fmla="*/ 248 h 536"/>
              <a:gd name="T44" fmla="*/ 149 w 534"/>
              <a:gd name="T45" fmla="*/ 205 h 536"/>
              <a:gd name="T46" fmla="*/ 115 w 534"/>
              <a:gd name="T47" fmla="*/ 248 h 536"/>
              <a:gd name="T48" fmla="*/ 218 w 534"/>
              <a:gd name="T49" fmla="*/ 297 h 536"/>
              <a:gd name="T50" fmla="*/ 257 w 534"/>
              <a:gd name="T51" fmla="*/ 278 h 536"/>
              <a:gd name="T52" fmla="*/ 206 w 534"/>
              <a:gd name="T53" fmla="*/ 313 h 536"/>
              <a:gd name="T54" fmla="*/ 155 w 534"/>
              <a:gd name="T55" fmla="*/ 293 h 536"/>
              <a:gd name="T56" fmla="*/ 164 w 534"/>
              <a:gd name="T57" fmla="*/ 370 h 536"/>
              <a:gd name="T58" fmla="*/ 263 w 534"/>
              <a:gd name="T59" fmla="*/ 408 h 536"/>
              <a:gd name="T60" fmla="*/ 263 w 534"/>
              <a:gd name="T61" fmla="*/ 280 h 536"/>
              <a:gd name="T62" fmla="*/ 322 w 534"/>
              <a:gd name="T63" fmla="*/ 303 h 536"/>
              <a:gd name="T64" fmla="*/ 277 w 534"/>
              <a:gd name="T65" fmla="*/ 278 h 536"/>
              <a:gd name="T66" fmla="*/ 287 w 534"/>
              <a:gd name="T67" fmla="*/ 413 h 536"/>
              <a:gd name="T68" fmla="*/ 385 w 534"/>
              <a:gd name="T69" fmla="*/ 356 h 536"/>
              <a:gd name="T70" fmla="*/ 377 w 534"/>
              <a:gd name="T71" fmla="*/ 284 h 536"/>
              <a:gd name="T72" fmla="*/ 336 w 534"/>
              <a:gd name="T73" fmla="*/ 305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34" h="536">
                <a:moveTo>
                  <a:pt x="269" y="536"/>
                </a:moveTo>
                <a:cubicBezTo>
                  <a:pt x="415" y="536"/>
                  <a:pt x="534" y="417"/>
                  <a:pt x="534" y="266"/>
                </a:cubicBezTo>
                <a:cubicBezTo>
                  <a:pt x="534" y="118"/>
                  <a:pt x="415" y="0"/>
                  <a:pt x="269" y="0"/>
                </a:cubicBezTo>
                <a:cubicBezTo>
                  <a:pt x="118" y="0"/>
                  <a:pt x="0" y="118"/>
                  <a:pt x="0" y="266"/>
                </a:cubicBezTo>
                <a:cubicBezTo>
                  <a:pt x="0" y="417"/>
                  <a:pt x="118" y="536"/>
                  <a:pt x="269" y="536"/>
                </a:cubicBezTo>
                <a:close/>
                <a:moveTo>
                  <a:pt x="269" y="32"/>
                </a:moveTo>
                <a:cubicBezTo>
                  <a:pt x="398" y="32"/>
                  <a:pt x="501" y="137"/>
                  <a:pt x="501" y="266"/>
                </a:cubicBezTo>
                <a:cubicBezTo>
                  <a:pt x="501" y="396"/>
                  <a:pt x="398" y="503"/>
                  <a:pt x="269" y="503"/>
                </a:cubicBezTo>
                <a:cubicBezTo>
                  <a:pt x="140" y="503"/>
                  <a:pt x="32" y="396"/>
                  <a:pt x="32" y="266"/>
                </a:cubicBezTo>
                <a:cubicBezTo>
                  <a:pt x="32" y="137"/>
                  <a:pt x="140" y="32"/>
                  <a:pt x="269" y="32"/>
                </a:cubicBezTo>
                <a:close/>
                <a:moveTo>
                  <a:pt x="261" y="150"/>
                </a:moveTo>
                <a:cubicBezTo>
                  <a:pt x="265" y="152"/>
                  <a:pt x="265" y="156"/>
                  <a:pt x="261" y="158"/>
                </a:cubicBezTo>
                <a:cubicBezTo>
                  <a:pt x="166" y="195"/>
                  <a:pt x="166" y="195"/>
                  <a:pt x="166" y="195"/>
                </a:cubicBezTo>
                <a:cubicBezTo>
                  <a:pt x="160" y="195"/>
                  <a:pt x="153" y="195"/>
                  <a:pt x="149" y="191"/>
                </a:cubicBezTo>
                <a:cubicBezTo>
                  <a:pt x="123" y="166"/>
                  <a:pt x="123" y="166"/>
                  <a:pt x="123" y="166"/>
                </a:cubicBezTo>
                <a:cubicBezTo>
                  <a:pt x="121" y="162"/>
                  <a:pt x="121" y="158"/>
                  <a:pt x="127" y="156"/>
                </a:cubicBezTo>
                <a:cubicBezTo>
                  <a:pt x="220" y="130"/>
                  <a:pt x="220" y="130"/>
                  <a:pt x="220" y="130"/>
                </a:cubicBezTo>
                <a:cubicBezTo>
                  <a:pt x="225" y="128"/>
                  <a:pt x="233" y="130"/>
                  <a:pt x="237" y="132"/>
                </a:cubicBezTo>
                <a:cubicBezTo>
                  <a:pt x="261" y="150"/>
                  <a:pt x="261" y="150"/>
                  <a:pt x="261" y="150"/>
                </a:cubicBezTo>
                <a:cubicBezTo>
                  <a:pt x="261" y="150"/>
                  <a:pt x="261" y="150"/>
                  <a:pt x="261" y="150"/>
                </a:cubicBezTo>
                <a:close/>
                <a:moveTo>
                  <a:pt x="391" y="191"/>
                </a:moveTo>
                <a:cubicBezTo>
                  <a:pt x="391" y="191"/>
                  <a:pt x="391" y="191"/>
                  <a:pt x="391" y="191"/>
                </a:cubicBezTo>
                <a:cubicBezTo>
                  <a:pt x="415" y="160"/>
                  <a:pt x="415" y="160"/>
                  <a:pt x="415" y="160"/>
                </a:cubicBezTo>
                <a:cubicBezTo>
                  <a:pt x="419" y="156"/>
                  <a:pt x="417" y="152"/>
                  <a:pt x="411" y="150"/>
                </a:cubicBezTo>
                <a:cubicBezTo>
                  <a:pt x="411" y="150"/>
                  <a:pt x="411" y="150"/>
                  <a:pt x="312" y="124"/>
                </a:cubicBezTo>
                <a:cubicBezTo>
                  <a:pt x="306" y="122"/>
                  <a:pt x="300" y="124"/>
                  <a:pt x="296" y="128"/>
                </a:cubicBezTo>
                <a:cubicBezTo>
                  <a:pt x="296" y="128"/>
                  <a:pt x="296" y="128"/>
                  <a:pt x="279" y="148"/>
                </a:cubicBezTo>
                <a:cubicBezTo>
                  <a:pt x="277" y="152"/>
                  <a:pt x="277" y="156"/>
                  <a:pt x="283" y="158"/>
                </a:cubicBezTo>
                <a:cubicBezTo>
                  <a:pt x="283" y="158"/>
                  <a:pt x="283" y="158"/>
                  <a:pt x="377" y="195"/>
                </a:cubicBezTo>
                <a:cubicBezTo>
                  <a:pt x="381" y="195"/>
                  <a:pt x="389" y="195"/>
                  <a:pt x="391" y="191"/>
                </a:cubicBezTo>
                <a:close/>
                <a:moveTo>
                  <a:pt x="322" y="288"/>
                </a:moveTo>
                <a:cubicBezTo>
                  <a:pt x="326" y="293"/>
                  <a:pt x="334" y="293"/>
                  <a:pt x="338" y="291"/>
                </a:cubicBezTo>
                <a:cubicBezTo>
                  <a:pt x="419" y="250"/>
                  <a:pt x="419" y="250"/>
                  <a:pt x="419" y="250"/>
                </a:cubicBezTo>
                <a:cubicBezTo>
                  <a:pt x="426" y="246"/>
                  <a:pt x="426" y="242"/>
                  <a:pt x="422" y="238"/>
                </a:cubicBezTo>
                <a:cubicBezTo>
                  <a:pt x="393" y="207"/>
                  <a:pt x="393" y="207"/>
                  <a:pt x="393" y="207"/>
                </a:cubicBezTo>
                <a:cubicBezTo>
                  <a:pt x="389" y="203"/>
                  <a:pt x="383" y="201"/>
                  <a:pt x="377" y="203"/>
                </a:cubicBezTo>
                <a:cubicBezTo>
                  <a:pt x="283" y="248"/>
                  <a:pt x="283" y="248"/>
                  <a:pt x="283" y="248"/>
                </a:cubicBezTo>
                <a:cubicBezTo>
                  <a:pt x="277" y="250"/>
                  <a:pt x="277" y="254"/>
                  <a:pt x="281" y="258"/>
                </a:cubicBezTo>
                <a:cubicBezTo>
                  <a:pt x="322" y="288"/>
                  <a:pt x="322" y="288"/>
                  <a:pt x="322" y="288"/>
                </a:cubicBezTo>
                <a:cubicBezTo>
                  <a:pt x="322" y="288"/>
                  <a:pt x="322" y="288"/>
                  <a:pt x="322" y="288"/>
                </a:cubicBezTo>
                <a:close/>
                <a:moveTo>
                  <a:pt x="218" y="297"/>
                </a:moveTo>
                <a:cubicBezTo>
                  <a:pt x="218" y="297"/>
                  <a:pt x="218" y="297"/>
                  <a:pt x="218" y="297"/>
                </a:cubicBezTo>
                <a:cubicBezTo>
                  <a:pt x="261" y="258"/>
                  <a:pt x="261" y="258"/>
                  <a:pt x="261" y="258"/>
                </a:cubicBezTo>
                <a:cubicBezTo>
                  <a:pt x="265" y="254"/>
                  <a:pt x="265" y="250"/>
                  <a:pt x="261" y="248"/>
                </a:cubicBezTo>
                <a:cubicBezTo>
                  <a:pt x="261" y="248"/>
                  <a:pt x="261" y="248"/>
                  <a:pt x="164" y="203"/>
                </a:cubicBezTo>
                <a:cubicBezTo>
                  <a:pt x="160" y="201"/>
                  <a:pt x="153" y="203"/>
                  <a:pt x="149" y="205"/>
                </a:cubicBezTo>
                <a:cubicBezTo>
                  <a:pt x="149" y="205"/>
                  <a:pt x="149" y="205"/>
                  <a:pt x="113" y="236"/>
                </a:cubicBezTo>
                <a:cubicBezTo>
                  <a:pt x="109" y="240"/>
                  <a:pt x="111" y="244"/>
                  <a:pt x="115" y="248"/>
                </a:cubicBezTo>
                <a:cubicBezTo>
                  <a:pt x="115" y="248"/>
                  <a:pt x="115" y="248"/>
                  <a:pt x="204" y="299"/>
                </a:cubicBezTo>
                <a:cubicBezTo>
                  <a:pt x="208" y="301"/>
                  <a:pt x="214" y="299"/>
                  <a:pt x="218" y="297"/>
                </a:cubicBezTo>
                <a:close/>
                <a:moveTo>
                  <a:pt x="263" y="280"/>
                </a:moveTo>
                <a:cubicBezTo>
                  <a:pt x="263" y="276"/>
                  <a:pt x="261" y="274"/>
                  <a:pt x="257" y="278"/>
                </a:cubicBezTo>
                <a:cubicBezTo>
                  <a:pt x="220" y="311"/>
                  <a:pt x="220" y="311"/>
                  <a:pt x="220" y="311"/>
                </a:cubicBezTo>
                <a:cubicBezTo>
                  <a:pt x="216" y="315"/>
                  <a:pt x="210" y="315"/>
                  <a:pt x="206" y="313"/>
                </a:cubicBezTo>
                <a:cubicBezTo>
                  <a:pt x="164" y="288"/>
                  <a:pt x="164" y="288"/>
                  <a:pt x="164" y="288"/>
                </a:cubicBezTo>
                <a:cubicBezTo>
                  <a:pt x="160" y="286"/>
                  <a:pt x="155" y="288"/>
                  <a:pt x="155" y="293"/>
                </a:cubicBezTo>
                <a:cubicBezTo>
                  <a:pt x="155" y="358"/>
                  <a:pt x="155" y="358"/>
                  <a:pt x="155" y="358"/>
                </a:cubicBezTo>
                <a:cubicBezTo>
                  <a:pt x="155" y="362"/>
                  <a:pt x="160" y="368"/>
                  <a:pt x="164" y="370"/>
                </a:cubicBezTo>
                <a:cubicBezTo>
                  <a:pt x="255" y="413"/>
                  <a:pt x="255" y="413"/>
                  <a:pt x="255" y="413"/>
                </a:cubicBezTo>
                <a:cubicBezTo>
                  <a:pt x="259" y="415"/>
                  <a:pt x="263" y="413"/>
                  <a:pt x="263" y="408"/>
                </a:cubicBezTo>
                <a:cubicBezTo>
                  <a:pt x="263" y="280"/>
                  <a:pt x="263" y="280"/>
                  <a:pt x="263" y="280"/>
                </a:cubicBezTo>
                <a:cubicBezTo>
                  <a:pt x="263" y="280"/>
                  <a:pt x="263" y="280"/>
                  <a:pt x="263" y="280"/>
                </a:cubicBezTo>
                <a:close/>
                <a:moveTo>
                  <a:pt x="336" y="305"/>
                </a:moveTo>
                <a:cubicBezTo>
                  <a:pt x="332" y="307"/>
                  <a:pt x="326" y="305"/>
                  <a:pt x="322" y="303"/>
                </a:cubicBezTo>
                <a:cubicBezTo>
                  <a:pt x="285" y="274"/>
                  <a:pt x="285" y="274"/>
                  <a:pt x="285" y="274"/>
                </a:cubicBezTo>
                <a:cubicBezTo>
                  <a:pt x="281" y="272"/>
                  <a:pt x="277" y="274"/>
                  <a:pt x="277" y="278"/>
                </a:cubicBezTo>
                <a:cubicBezTo>
                  <a:pt x="277" y="406"/>
                  <a:pt x="277" y="406"/>
                  <a:pt x="277" y="406"/>
                </a:cubicBezTo>
                <a:cubicBezTo>
                  <a:pt x="277" y="413"/>
                  <a:pt x="281" y="415"/>
                  <a:pt x="287" y="413"/>
                </a:cubicBezTo>
                <a:cubicBezTo>
                  <a:pt x="377" y="370"/>
                  <a:pt x="377" y="370"/>
                  <a:pt x="377" y="370"/>
                </a:cubicBezTo>
                <a:cubicBezTo>
                  <a:pt x="381" y="368"/>
                  <a:pt x="385" y="362"/>
                  <a:pt x="385" y="356"/>
                </a:cubicBezTo>
                <a:cubicBezTo>
                  <a:pt x="385" y="288"/>
                  <a:pt x="385" y="288"/>
                  <a:pt x="385" y="288"/>
                </a:cubicBezTo>
                <a:cubicBezTo>
                  <a:pt x="385" y="284"/>
                  <a:pt x="381" y="280"/>
                  <a:pt x="377" y="284"/>
                </a:cubicBezTo>
                <a:cubicBezTo>
                  <a:pt x="336" y="305"/>
                  <a:pt x="336" y="305"/>
                  <a:pt x="336" y="305"/>
                </a:cubicBezTo>
                <a:cubicBezTo>
                  <a:pt x="336" y="305"/>
                  <a:pt x="336" y="305"/>
                  <a:pt x="336" y="305"/>
                </a:cubicBezTo>
                <a:close/>
              </a:path>
            </a:pathLst>
          </a:custGeom>
          <a:solidFill>
            <a:schemeClr val="accent1"/>
          </a:solidFill>
          <a:ln>
            <a:noFill/>
          </a:ln>
        </p:spPr>
        <p:txBody>
          <a:bodyPr vert="horz" wrap="square" lIns="109691" tIns="54846" rIns="109691" bIns="54846" numCol="1" anchor="t" anchorCtr="0" compatLnSpc="1"/>
          <a:lstStyle/>
          <a:p>
            <a:pPr marL="0" marR="0" lvl="0" indent="0" defTabSz="1096645" eaLnBrk="1" fontAlgn="auto" latinLnBrk="0" hangingPunct="1">
              <a:lnSpc>
                <a:spcPct val="100000"/>
              </a:lnSpc>
              <a:spcBef>
                <a:spcPts val="0"/>
              </a:spcBef>
              <a:spcAft>
                <a:spcPts val="0"/>
              </a:spcAft>
              <a:buClrTx/>
              <a:buSzTx/>
              <a:buFontTx/>
              <a:buNone/>
              <a:defRPr/>
            </a:pPr>
            <a:endParaRPr kumimoji="0" lang="en-US" sz="1100" b="0" i="0" u="none" strike="noStrike" kern="0" cap="none" spc="0" normalizeH="0" baseline="0" noProof="0">
              <a:ln>
                <a:noFill/>
              </a:ln>
              <a:solidFill>
                <a:srgbClr val="000000"/>
              </a:solidFill>
              <a:effectLst/>
              <a:uLnTx/>
              <a:uFillTx/>
            </a:endParaRPr>
          </a:p>
        </p:txBody>
      </p:sp>
      <p:sp>
        <p:nvSpPr>
          <p:cNvPr id="20" name="Freeform 51"/>
          <p:cNvSpPr>
            <a:spLocks noEditPoints="1"/>
          </p:cNvSpPr>
          <p:nvPr/>
        </p:nvSpPr>
        <p:spPr bwMode="black">
          <a:xfrm>
            <a:off x="5385496" y="1629877"/>
            <a:ext cx="680010" cy="635976"/>
          </a:xfrm>
          <a:custGeom>
            <a:avLst/>
            <a:gdLst>
              <a:gd name="T0" fmla="*/ 70 w 140"/>
              <a:gd name="T1" fmla="*/ 10 h 140"/>
              <a:gd name="T2" fmla="*/ 10 w 140"/>
              <a:gd name="T3" fmla="*/ 70 h 140"/>
              <a:gd name="T4" fmla="*/ 70 w 140"/>
              <a:gd name="T5" fmla="*/ 131 h 140"/>
              <a:gd name="T6" fmla="*/ 130 w 140"/>
              <a:gd name="T7" fmla="*/ 70 h 140"/>
              <a:gd name="T8" fmla="*/ 70 w 140"/>
              <a:gd name="T9" fmla="*/ 10 h 140"/>
              <a:gd name="T10" fmla="*/ 70 w 140"/>
              <a:gd name="T11" fmla="*/ 0 h 140"/>
              <a:gd name="T12" fmla="*/ 140 w 140"/>
              <a:gd name="T13" fmla="*/ 70 h 140"/>
              <a:gd name="T14" fmla="*/ 70 w 140"/>
              <a:gd name="T15" fmla="*/ 140 h 140"/>
              <a:gd name="T16" fmla="*/ 0 w 140"/>
              <a:gd name="T17" fmla="*/ 70 h 140"/>
              <a:gd name="T18" fmla="*/ 70 w 140"/>
              <a:gd name="T19" fmla="*/ 0 h 140"/>
              <a:gd name="T20" fmla="*/ 102 w 140"/>
              <a:gd name="T21" fmla="*/ 39 h 140"/>
              <a:gd name="T22" fmla="*/ 102 w 140"/>
              <a:gd name="T23" fmla="*/ 62 h 140"/>
              <a:gd name="T24" fmla="*/ 78 w 140"/>
              <a:gd name="T25" fmla="*/ 63 h 140"/>
              <a:gd name="T26" fmla="*/ 70 w 140"/>
              <a:gd name="T27" fmla="*/ 55 h 140"/>
              <a:gd name="T28" fmla="*/ 86 w 140"/>
              <a:gd name="T29" fmla="*/ 54 h 140"/>
              <a:gd name="T30" fmla="*/ 75 w 140"/>
              <a:gd name="T31" fmla="*/ 49 h 140"/>
              <a:gd name="T32" fmla="*/ 50 w 140"/>
              <a:gd name="T33" fmla="*/ 65 h 140"/>
              <a:gd name="T34" fmla="*/ 38 w 140"/>
              <a:gd name="T35" fmla="*/ 65 h 140"/>
              <a:gd name="T36" fmla="*/ 77 w 140"/>
              <a:gd name="T37" fmla="*/ 37 h 140"/>
              <a:gd name="T38" fmla="*/ 93 w 140"/>
              <a:gd name="T39" fmla="*/ 45 h 140"/>
              <a:gd name="T40" fmla="*/ 94 w 140"/>
              <a:gd name="T41" fmla="*/ 30 h 140"/>
              <a:gd name="T42" fmla="*/ 102 w 140"/>
              <a:gd name="T43" fmla="*/ 39 h 140"/>
              <a:gd name="T44" fmla="*/ 89 w 140"/>
              <a:gd name="T45" fmla="*/ 75 h 140"/>
              <a:gd name="T46" fmla="*/ 64 w 140"/>
              <a:gd name="T47" fmla="*/ 92 h 140"/>
              <a:gd name="T48" fmla="*/ 54 w 140"/>
              <a:gd name="T49" fmla="*/ 87 h 140"/>
              <a:gd name="T50" fmla="*/ 70 w 140"/>
              <a:gd name="T51" fmla="*/ 86 h 140"/>
              <a:gd name="T52" fmla="*/ 62 w 140"/>
              <a:gd name="T53" fmla="*/ 77 h 140"/>
              <a:gd name="T54" fmla="*/ 38 w 140"/>
              <a:gd name="T55" fmla="*/ 78 h 140"/>
              <a:gd name="T56" fmla="*/ 38 w 140"/>
              <a:gd name="T57" fmla="*/ 102 h 140"/>
              <a:gd name="T58" fmla="*/ 46 w 140"/>
              <a:gd name="T59" fmla="*/ 110 h 140"/>
              <a:gd name="T60" fmla="*/ 47 w 140"/>
              <a:gd name="T61" fmla="*/ 96 h 140"/>
              <a:gd name="T62" fmla="*/ 62 w 140"/>
              <a:gd name="T63" fmla="*/ 104 h 140"/>
              <a:gd name="T64" fmla="*/ 102 w 140"/>
              <a:gd name="T65" fmla="*/ 75 h 140"/>
              <a:gd name="T66" fmla="*/ 89 w 140"/>
              <a:gd name="T67" fmla="*/ 75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0" h="140">
                <a:moveTo>
                  <a:pt x="70" y="10"/>
                </a:moveTo>
                <a:cubicBezTo>
                  <a:pt x="37" y="10"/>
                  <a:pt x="10" y="37"/>
                  <a:pt x="10" y="70"/>
                </a:cubicBezTo>
                <a:cubicBezTo>
                  <a:pt x="10" y="103"/>
                  <a:pt x="37" y="131"/>
                  <a:pt x="70" y="131"/>
                </a:cubicBezTo>
                <a:cubicBezTo>
                  <a:pt x="103" y="131"/>
                  <a:pt x="130" y="103"/>
                  <a:pt x="130" y="70"/>
                </a:cubicBezTo>
                <a:cubicBezTo>
                  <a:pt x="130" y="37"/>
                  <a:pt x="103" y="10"/>
                  <a:pt x="70" y="10"/>
                </a:cubicBezTo>
                <a:moveTo>
                  <a:pt x="70" y="0"/>
                </a:moveTo>
                <a:cubicBezTo>
                  <a:pt x="109" y="0"/>
                  <a:pt x="140" y="31"/>
                  <a:pt x="140" y="70"/>
                </a:cubicBezTo>
                <a:cubicBezTo>
                  <a:pt x="140" y="109"/>
                  <a:pt x="109" y="140"/>
                  <a:pt x="70" y="140"/>
                </a:cubicBezTo>
                <a:cubicBezTo>
                  <a:pt x="31" y="140"/>
                  <a:pt x="0" y="109"/>
                  <a:pt x="0" y="70"/>
                </a:cubicBezTo>
                <a:cubicBezTo>
                  <a:pt x="0" y="31"/>
                  <a:pt x="31" y="0"/>
                  <a:pt x="70" y="0"/>
                </a:cubicBezTo>
                <a:moveTo>
                  <a:pt x="102" y="39"/>
                </a:moveTo>
                <a:cubicBezTo>
                  <a:pt x="102" y="62"/>
                  <a:pt x="102" y="62"/>
                  <a:pt x="102" y="62"/>
                </a:cubicBezTo>
                <a:cubicBezTo>
                  <a:pt x="78" y="63"/>
                  <a:pt x="78" y="63"/>
                  <a:pt x="78" y="63"/>
                </a:cubicBezTo>
                <a:cubicBezTo>
                  <a:pt x="70" y="55"/>
                  <a:pt x="70" y="55"/>
                  <a:pt x="70" y="55"/>
                </a:cubicBezTo>
                <a:cubicBezTo>
                  <a:pt x="86" y="54"/>
                  <a:pt x="86" y="54"/>
                  <a:pt x="86" y="54"/>
                </a:cubicBezTo>
                <a:cubicBezTo>
                  <a:pt x="83" y="51"/>
                  <a:pt x="79" y="49"/>
                  <a:pt x="75" y="49"/>
                </a:cubicBezTo>
                <a:cubicBezTo>
                  <a:pt x="64" y="46"/>
                  <a:pt x="53" y="54"/>
                  <a:pt x="50" y="65"/>
                </a:cubicBezTo>
                <a:cubicBezTo>
                  <a:pt x="38" y="65"/>
                  <a:pt x="38" y="65"/>
                  <a:pt x="38" y="65"/>
                </a:cubicBezTo>
                <a:cubicBezTo>
                  <a:pt x="42" y="44"/>
                  <a:pt x="60" y="34"/>
                  <a:pt x="77" y="37"/>
                </a:cubicBezTo>
                <a:cubicBezTo>
                  <a:pt x="83" y="38"/>
                  <a:pt x="89" y="41"/>
                  <a:pt x="93" y="45"/>
                </a:cubicBezTo>
                <a:cubicBezTo>
                  <a:pt x="94" y="30"/>
                  <a:pt x="94" y="30"/>
                  <a:pt x="94" y="30"/>
                </a:cubicBezTo>
                <a:lnTo>
                  <a:pt x="102" y="39"/>
                </a:lnTo>
                <a:close/>
                <a:moveTo>
                  <a:pt x="89" y="75"/>
                </a:moveTo>
                <a:cubicBezTo>
                  <a:pt x="87" y="87"/>
                  <a:pt x="76" y="94"/>
                  <a:pt x="64" y="92"/>
                </a:cubicBezTo>
                <a:cubicBezTo>
                  <a:pt x="60" y="91"/>
                  <a:pt x="57" y="89"/>
                  <a:pt x="54" y="87"/>
                </a:cubicBezTo>
                <a:cubicBezTo>
                  <a:pt x="70" y="86"/>
                  <a:pt x="70" y="86"/>
                  <a:pt x="70" y="86"/>
                </a:cubicBezTo>
                <a:cubicBezTo>
                  <a:pt x="62" y="77"/>
                  <a:pt x="62" y="77"/>
                  <a:pt x="62" y="77"/>
                </a:cubicBezTo>
                <a:cubicBezTo>
                  <a:pt x="38" y="78"/>
                  <a:pt x="38" y="78"/>
                  <a:pt x="38" y="78"/>
                </a:cubicBezTo>
                <a:cubicBezTo>
                  <a:pt x="38" y="102"/>
                  <a:pt x="38" y="102"/>
                  <a:pt x="38" y="102"/>
                </a:cubicBezTo>
                <a:cubicBezTo>
                  <a:pt x="46" y="110"/>
                  <a:pt x="46" y="110"/>
                  <a:pt x="46" y="110"/>
                </a:cubicBezTo>
                <a:cubicBezTo>
                  <a:pt x="47" y="96"/>
                  <a:pt x="47" y="96"/>
                  <a:pt x="47" y="96"/>
                </a:cubicBezTo>
                <a:cubicBezTo>
                  <a:pt x="51" y="100"/>
                  <a:pt x="56" y="102"/>
                  <a:pt x="62" y="104"/>
                </a:cubicBezTo>
                <a:cubicBezTo>
                  <a:pt x="80" y="107"/>
                  <a:pt x="98" y="96"/>
                  <a:pt x="102" y="75"/>
                </a:cubicBezTo>
                <a:lnTo>
                  <a:pt x="89" y="75"/>
                </a:lnTo>
                <a:close/>
              </a:path>
            </a:pathLst>
          </a:custGeom>
          <a:solidFill>
            <a:schemeClr val="accent1"/>
          </a:solidFill>
          <a:ln>
            <a:noFill/>
          </a:ln>
        </p:spPr>
        <p:txBody>
          <a:bodyPr vert="horz" wrap="square" lIns="91406" tIns="45702" rIns="91406" bIns="45702" numCol="1" anchor="t" anchorCtr="0" compatLnSpc="1"/>
          <a:lstStyle/>
          <a:p>
            <a:pPr marL="0" marR="0" lvl="0" indent="0" defTabSz="913765" eaLnBrk="1" fontAlgn="auto" latinLnBrk="0" hangingPunct="1">
              <a:lnSpc>
                <a:spcPct val="100000"/>
              </a:lnSpc>
              <a:spcBef>
                <a:spcPts val="0"/>
              </a:spcBef>
              <a:spcAft>
                <a:spcPts val="0"/>
              </a:spcAft>
              <a:buClrTx/>
              <a:buSzTx/>
              <a:buFontTx/>
              <a:buNone/>
              <a:defRPr/>
            </a:pPr>
            <a:endParaRPr kumimoji="0" lang="en-US" sz="1100" b="0" i="0" u="none" strike="noStrike" kern="0" cap="none" spc="0" normalizeH="0" baseline="0" noProof="0">
              <a:ln>
                <a:noFill/>
              </a:ln>
              <a:solidFill>
                <a:srgbClr val="000000"/>
              </a:solidFill>
              <a:effectLst/>
              <a:uLnTx/>
              <a:uFillTx/>
            </a:endParaRPr>
          </a:p>
        </p:txBody>
      </p:sp>
      <p:sp>
        <p:nvSpPr>
          <p:cNvPr id="34" name="TextBox 33"/>
          <p:cNvSpPr txBox="1"/>
          <p:nvPr/>
        </p:nvSpPr>
        <p:spPr>
          <a:xfrm>
            <a:off x="616203" y="4147215"/>
            <a:ext cx="1620957" cy="523220"/>
          </a:xfrm>
          <a:prstGeom prst="rect">
            <a:avLst/>
          </a:prstGeom>
          <a:noFill/>
        </p:spPr>
        <p:txBody>
          <a:bodyPr wrap="none" rtlCol="0">
            <a:spAutoFit/>
          </a:bodyPr>
          <a:lstStyle/>
          <a:p>
            <a:pPr algn="ctr"/>
            <a:r>
              <a:rPr lang="zh-CN" altLang="en-US" sz="1400" dirty="0">
                <a:solidFill>
                  <a:schemeClr val="bg1">
                    <a:lumMod val="50000"/>
                  </a:schemeClr>
                </a:solidFill>
              </a:rPr>
              <a:t>单击此处添加文本</a:t>
            </a:r>
            <a:endParaRPr lang="en-US" altLang="zh-CN" sz="1400" dirty="0">
              <a:solidFill>
                <a:schemeClr val="bg1">
                  <a:lumMod val="50000"/>
                </a:schemeClr>
              </a:solidFill>
            </a:endParaRPr>
          </a:p>
          <a:p>
            <a:pPr algn="ctr"/>
            <a:r>
              <a:rPr lang="zh-CN" altLang="en-US" sz="1400" dirty="0">
                <a:solidFill>
                  <a:schemeClr val="bg1">
                    <a:lumMod val="50000"/>
                  </a:schemeClr>
                </a:solidFill>
              </a:rPr>
              <a:t>单击此处添加文本</a:t>
            </a:r>
          </a:p>
        </p:txBody>
      </p:sp>
      <p:sp>
        <p:nvSpPr>
          <p:cNvPr id="35" name="TextBox 34"/>
          <p:cNvSpPr txBox="1"/>
          <p:nvPr/>
        </p:nvSpPr>
        <p:spPr>
          <a:xfrm>
            <a:off x="2779628" y="3361094"/>
            <a:ext cx="1620957" cy="523220"/>
          </a:xfrm>
          <a:prstGeom prst="rect">
            <a:avLst/>
          </a:prstGeom>
          <a:noFill/>
        </p:spPr>
        <p:txBody>
          <a:bodyPr wrap="none" rtlCol="0">
            <a:spAutoFit/>
          </a:bodyPr>
          <a:lstStyle/>
          <a:p>
            <a:pPr algn="ctr"/>
            <a:r>
              <a:rPr lang="zh-CN" altLang="en-US" sz="1400" dirty="0">
                <a:solidFill>
                  <a:schemeClr val="bg1">
                    <a:lumMod val="50000"/>
                  </a:schemeClr>
                </a:solidFill>
              </a:rPr>
              <a:t>单击此处添加文本</a:t>
            </a:r>
            <a:endParaRPr lang="en-US" altLang="zh-CN" sz="1400" dirty="0">
              <a:solidFill>
                <a:schemeClr val="bg1">
                  <a:lumMod val="50000"/>
                </a:schemeClr>
              </a:solidFill>
            </a:endParaRPr>
          </a:p>
          <a:p>
            <a:pPr algn="ctr"/>
            <a:r>
              <a:rPr lang="zh-CN" altLang="en-US" sz="1400" dirty="0">
                <a:solidFill>
                  <a:schemeClr val="bg1">
                    <a:lumMod val="50000"/>
                  </a:schemeClr>
                </a:solidFill>
              </a:rPr>
              <a:t>单击此处添加文本</a:t>
            </a:r>
          </a:p>
        </p:txBody>
      </p:sp>
      <p:sp>
        <p:nvSpPr>
          <p:cNvPr id="36" name="TextBox 35"/>
          <p:cNvSpPr txBox="1"/>
          <p:nvPr/>
        </p:nvSpPr>
        <p:spPr>
          <a:xfrm>
            <a:off x="4885340" y="2492501"/>
            <a:ext cx="1620957" cy="523220"/>
          </a:xfrm>
          <a:prstGeom prst="rect">
            <a:avLst/>
          </a:prstGeom>
          <a:noFill/>
        </p:spPr>
        <p:txBody>
          <a:bodyPr wrap="none" rtlCol="0">
            <a:spAutoFit/>
          </a:bodyPr>
          <a:lstStyle/>
          <a:p>
            <a:pPr algn="ctr"/>
            <a:r>
              <a:rPr lang="zh-CN" altLang="en-US" sz="1400" dirty="0">
                <a:solidFill>
                  <a:schemeClr val="bg1">
                    <a:lumMod val="50000"/>
                  </a:schemeClr>
                </a:solidFill>
              </a:rPr>
              <a:t>单击此处添加文本</a:t>
            </a:r>
            <a:endParaRPr lang="en-US" altLang="zh-CN" sz="1400" dirty="0">
              <a:solidFill>
                <a:schemeClr val="bg1">
                  <a:lumMod val="50000"/>
                </a:schemeClr>
              </a:solidFill>
            </a:endParaRPr>
          </a:p>
          <a:p>
            <a:pPr algn="ctr"/>
            <a:r>
              <a:rPr lang="zh-CN" altLang="en-US" sz="1400" dirty="0">
                <a:solidFill>
                  <a:schemeClr val="bg1">
                    <a:lumMod val="50000"/>
                  </a:schemeClr>
                </a:solidFill>
              </a:rPr>
              <a:t>单击此处添加文本</a:t>
            </a:r>
          </a:p>
        </p:txBody>
      </p:sp>
      <p:sp>
        <p:nvSpPr>
          <p:cNvPr id="37" name="TextBox 36"/>
          <p:cNvSpPr txBox="1"/>
          <p:nvPr/>
        </p:nvSpPr>
        <p:spPr>
          <a:xfrm>
            <a:off x="7007876" y="1627048"/>
            <a:ext cx="1620957" cy="523220"/>
          </a:xfrm>
          <a:prstGeom prst="rect">
            <a:avLst/>
          </a:prstGeom>
          <a:noFill/>
        </p:spPr>
        <p:txBody>
          <a:bodyPr wrap="none" rtlCol="0">
            <a:spAutoFit/>
          </a:bodyPr>
          <a:lstStyle/>
          <a:p>
            <a:pPr algn="ctr"/>
            <a:r>
              <a:rPr lang="zh-CN" altLang="en-US" sz="1400" dirty="0">
                <a:solidFill>
                  <a:schemeClr val="bg1">
                    <a:lumMod val="50000"/>
                  </a:schemeClr>
                </a:solidFill>
              </a:rPr>
              <a:t>单击此处添加文本</a:t>
            </a:r>
            <a:endParaRPr lang="en-US" altLang="zh-CN" sz="1400" dirty="0">
              <a:solidFill>
                <a:schemeClr val="bg1">
                  <a:lumMod val="50000"/>
                </a:schemeClr>
              </a:solidFill>
            </a:endParaRPr>
          </a:p>
          <a:p>
            <a:pPr algn="ctr"/>
            <a:r>
              <a:rPr lang="zh-CN" altLang="en-US" sz="1400" dirty="0">
                <a:solidFill>
                  <a:schemeClr val="bg1">
                    <a:lumMod val="50000"/>
                  </a:schemeClr>
                </a:solidFill>
              </a:rPr>
              <a:t>单击此处添加文本</a:t>
            </a:r>
          </a:p>
        </p:txBody>
      </p:sp>
    </p:spTree>
  </p:cSld>
  <p:clrMapOvr>
    <a:masterClrMapping/>
  </p:clrMapOvr>
  <p:transition spd="slow" advTm="3570">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left)">
                                      <p:cBhvr>
                                        <p:cTn id="7" dur="500"/>
                                        <p:tgtEl>
                                          <p:spTgt spid="2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par>
                                <p:cTn id="12" presetID="10" presetClass="entr" presetSubtype="0" fill="hold" grpId="0" nodeType="withEffect">
                                  <p:stCondLst>
                                    <p:cond delay="2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500"/>
                                        <p:tgtEl>
                                          <p:spTgt spid="18"/>
                                        </p:tgtEl>
                                      </p:cBhvr>
                                    </p:animEffect>
                                  </p:childTnLst>
                                </p:cTn>
                              </p:par>
                              <p:par>
                                <p:cTn id="15" presetID="10" presetClass="entr" presetSubtype="0" fill="hold" grpId="0" nodeType="withEffect">
                                  <p:stCondLst>
                                    <p:cond delay="40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par>
                                <p:cTn id="18" presetID="10" presetClass="entr" presetSubtype="0" fill="hold" grpId="0" nodeType="withEffect">
                                  <p:stCondLst>
                                    <p:cond delay="60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1000"/>
                            </p:stCondLst>
                            <p:childTnLst>
                              <p:par>
                                <p:cTn id="22" presetID="22" presetClass="entr" presetSubtype="1" fill="hold" grpId="0"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wipe(up)">
                                      <p:cBhvr>
                                        <p:cTn id="24" dur="500"/>
                                        <p:tgtEl>
                                          <p:spTgt spid="34"/>
                                        </p:tgtEl>
                                      </p:cBhvr>
                                    </p:animEffect>
                                  </p:childTnLst>
                                </p:cTn>
                              </p:par>
                              <p:par>
                                <p:cTn id="25" presetID="22" presetClass="entr" presetSubtype="1" fill="hold" grpId="0" nodeType="withEffect">
                                  <p:stCondLst>
                                    <p:cond delay="200"/>
                                  </p:stCondLst>
                                  <p:childTnLst>
                                    <p:set>
                                      <p:cBhvr>
                                        <p:cTn id="26" dur="1" fill="hold">
                                          <p:stCondLst>
                                            <p:cond delay="0"/>
                                          </p:stCondLst>
                                        </p:cTn>
                                        <p:tgtEl>
                                          <p:spTgt spid="35"/>
                                        </p:tgtEl>
                                        <p:attrNameLst>
                                          <p:attrName>style.visibility</p:attrName>
                                        </p:attrNameLst>
                                      </p:cBhvr>
                                      <p:to>
                                        <p:strVal val="visible"/>
                                      </p:to>
                                    </p:set>
                                    <p:animEffect transition="in" filter="wipe(up)">
                                      <p:cBhvr>
                                        <p:cTn id="27" dur="500"/>
                                        <p:tgtEl>
                                          <p:spTgt spid="35"/>
                                        </p:tgtEl>
                                      </p:cBhvr>
                                    </p:animEffect>
                                  </p:childTnLst>
                                </p:cTn>
                              </p:par>
                              <p:par>
                                <p:cTn id="28" presetID="22" presetClass="entr" presetSubtype="1" fill="hold" grpId="0" nodeType="withEffect">
                                  <p:stCondLst>
                                    <p:cond delay="400"/>
                                  </p:stCondLst>
                                  <p:childTnLst>
                                    <p:set>
                                      <p:cBhvr>
                                        <p:cTn id="29" dur="1" fill="hold">
                                          <p:stCondLst>
                                            <p:cond delay="0"/>
                                          </p:stCondLst>
                                        </p:cTn>
                                        <p:tgtEl>
                                          <p:spTgt spid="36"/>
                                        </p:tgtEl>
                                        <p:attrNameLst>
                                          <p:attrName>style.visibility</p:attrName>
                                        </p:attrNameLst>
                                      </p:cBhvr>
                                      <p:to>
                                        <p:strVal val="visible"/>
                                      </p:to>
                                    </p:set>
                                    <p:animEffect transition="in" filter="wipe(up)">
                                      <p:cBhvr>
                                        <p:cTn id="30" dur="500"/>
                                        <p:tgtEl>
                                          <p:spTgt spid="36"/>
                                        </p:tgtEl>
                                      </p:cBhvr>
                                    </p:animEffect>
                                  </p:childTnLst>
                                </p:cTn>
                              </p:par>
                              <p:par>
                                <p:cTn id="31" presetID="22" presetClass="entr" presetSubtype="1" fill="hold" grpId="0" nodeType="withEffect">
                                  <p:stCondLst>
                                    <p:cond delay="600"/>
                                  </p:stCondLst>
                                  <p:childTnLst>
                                    <p:set>
                                      <p:cBhvr>
                                        <p:cTn id="32" dur="1" fill="hold">
                                          <p:stCondLst>
                                            <p:cond delay="0"/>
                                          </p:stCondLst>
                                        </p:cTn>
                                        <p:tgtEl>
                                          <p:spTgt spid="37"/>
                                        </p:tgtEl>
                                        <p:attrNameLst>
                                          <p:attrName>style.visibility</p:attrName>
                                        </p:attrNameLst>
                                      </p:cBhvr>
                                      <p:to>
                                        <p:strVal val="visible"/>
                                      </p:to>
                                    </p:set>
                                    <p:animEffect transition="in" filter="wipe(up)">
                                      <p:cBhvr>
                                        <p:cTn id="33"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34" grpId="0"/>
      <p:bldP spid="35" grpId="0"/>
      <p:bldP spid="36" grpId="0"/>
      <p:bldP spid="3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Users\zjd\Desktop\untitled.png"/>
          <p:cNvPicPr>
            <a:picLocks noChangeAspect="1" noChangeArrowheads="1"/>
          </p:cNvPicPr>
          <p:nvPr/>
        </p:nvPicPr>
        <p:blipFill rotWithShape="1">
          <a:blip r:embed="rId3" cstate="screen"/>
          <a:srcRect/>
          <a:stretch>
            <a:fillRect/>
          </a:stretch>
        </p:blipFill>
        <p:spPr bwMode="auto">
          <a:xfrm flipH="1">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Rectangle 16"/>
          <p:cNvSpPr/>
          <p:nvPr/>
        </p:nvSpPr>
        <p:spPr bwMode="auto">
          <a:xfrm>
            <a:off x="0" y="3867894"/>
            <a:ext cx="9144000" cy="1275606"/>
          </a:xfrm>
          <a:prstGeom prst="rect">
            <a:avLst/>
          </a:prstGeom>
          <a:solidFill>
            <a:schemeClr val="accent1"/>
          </a:solidFill>
          <a:ln w="25400" cap="flat" cmpd="sng" algn="ctr">
            <a:noFill/>
            <a:prstDash val="solid"/>
            <a:headEnd type="none" w="med" len="med"/>
            <a:tailEnd type="none" w="med" len="med"/>
          </a:ln>
          <a:effectLst/>
        </p:spPr>
        <p:txBody>
          <a:bodyPr vert="horz" wrap="square" lIns="91436" tIns="91440" rIns="91436" bIns="91440" numCol="1" rtlCol="0" anchor="t" anchorCtr="0" compatLnSpc="1"/>
          <a:lstStyle/>
          <a:p>
            <a:pPr algn="r" defTabSz="685800" fontAlgn="base">
              <a:spcBef>
                <a:spcPct val="0"/>
              </a:spcBef>
              <a:spcAft>
                <a:spcPct val="0"/>
              </a:spcAft>
            </a:pPr>
            <a:endParaRPr lang="en-US" altLang="zh-CN" sz="1400" kern="0" dirty="0">
              <a:gradFill>
                <a:gsLst>
                  <a:gs pos="0">
                    <a:srgbClr val="FFFFFF"/>
                  </a:gs>
                  <a:gs pos="100000">
                    <a:srgbClr val="FFFFFF"/>
                  </a:gs>
                </a:gsLst>
                <a:lin ang="5400000" scaled="0"/>
              </a:gradFill>
              <a:latin typeface="Segoe UI" panose="020B0502040204020203"/>
            </a:endParaRPr>
          </a:p>
          <a:p>
            <a:pPr algn="r" defTabSz="685800" fontAlgn="base">
              <a:spcBef>
                <a:spcPct val="0"/>
              </a:spcBef>
              <a:spcAft>
                <a:spcPct val="0"/>
              </a:spcAft>
            </a:pPr>
            <a:endParaRPr lang="en-US" altLang="zh-CN" sz="1400" kern="0" dirty="0">
              <a:gradFill>
                <a:gsLst>
                  <a:gs pos="0">
                    <a:srgbClr val="FFFFFF"/>
                  </a:gs>
                  <a:gs pos="100000">
                    <a:srgbClr val="FFFFFF"/>
                  </a:gs>
                </a:gsLst>
                <a:lin ang="5400000" scaled="0"/>
              </a:gradFill>
              <a:latin typeface="Segoe UI" panose="020B0502040204020203"/>
            </a:endParaRPr>
          </a:p>
          <a:p>
            <a:pPr algn="r" defTabSz="685800" fontAlgn="base">
              <a:spcBef>
                <a:spcPct val="0"/>
              </a:spcBef>
              <a:spcAft>
                <a:spcPct val="0"/>
              </a:spcAft>
              <a:defRPr/>
            </a:pPr>
            <a:endParaRPr lang="en-US" kern="0" dirty="0">
              <a:gradFill>
                <a:gsLst>
                  <a:gs pos="0">
                    <a:srgbClr val="FFFFFF"/>
                  </a:gs>
                  <a:gs pos="100000">
                    <a:srgbClr val="FFFFFF"/>
                  </a:gs>
                </a:gsLst>
                <a:lin ang="5400000" scaled="0"/>
              </a:gradFill>
              <a:latin typeface="Segoe UI" panose="020B0502040204020203"/>
            </a:endParaRPr>
          </a:p>
        </p:txBody>
      </p:sp>
      <p:sp>
        <p:nvSpPr>
          <p:cNvPr id="11" name="TextBox 10"/>
          <p:cNvSpPr txBox="1"/>
          <p:nvPr/>
        </p:nvSpPr>
        <p:spPr>
          <a:xfrm>
            <a:off x="1403648" y="3958193"/>
            <a:ext cx="7632848" cy="1061829"/>
          </a:xfrm>
          <a:prstGeom prst="rect">
            <a:avLst/>
          </a:prstGeom>
          <a:noFill/>
        </p:spPr>
        <p:txBody>
          <a:bodyPr wrap="square" rtlCol="0">
            <a:spAutoFit/>
          </a:bodyPr>
          <a:lstStyle/>
          <a:p>
            <a:pPr marL="285750" indent="-285750">
              <a:lnSpc>
                <a:spcPct val="150000"/>
              </a:lnSpc>
              <a:buFont typeface="Wingdings" panose="05000000000000000000" pitchFamily="2" charset="2"/>
              <a:buChar char="ü"/>
            </a:pPr>
            <a:r>
              <a:rPr lang="zh-CN" altLang="en-US" sz="1400" dirty="0">
                <a:solidFill>
                  <a:schemeClr val="bg1"/>
                </a:solidFill>
              </a:rPr>
              <a:t>论点一：单击此处添加文本，单击此处添加文本，单击此处添加文本，单击此处添加文本</a:t>
            </a:r>
          </a:p>
          <a:p>
            <a:pPr marL="285750" indent="-285750">
              <a:lnSpc>
                <a:spcPct val="150000"/>
              </a:lnSpc>
              <a:buFont typeface="Wingdings" panose="05000000000000000000" pitchFamily="2" charset="2"/>
              <a:buChar char="ü"/>
            </a:pPr>
            <a:r>
              <a:rPr lang="zh-CN" altLang="en-US" sz="1400" dirty="0">
                <a:solidFill>
                  <a:schemeClr val="bg1"/>
                </a:solidFill>
              </a:rPr>
              <a:t>论点二：单击此处添加文本，单击此处添加文本，单击此处添加文本，单击此处添加文本</a:t>
            </a:r>
          </a:p>
          <a:p>
            <a:pPr marL="285750" indent="-285750">
              <a:lnSpc>
                <a:spcPct val="150000"/>
              </a:lnSpc>
              <a:buFont typeface="Wingdings" panose="05000000000000000000" pitchFamily="2" charset="2"/>
              <a:buChar char="ü"/>
            </a:pPr>
            <a:r>
              <a:rPr lang="zh-CN" altLang="en-US" sz="1400" dirty="0">
                <a:solidFill>
                  <a:schemeClr val="bg1"/>
                </a:solidFill>
              </a:rPr>
              <a:t>论点三：单击此处添加文本，单击此处添加文本，单击此处添加文本，单击此处添加文本</a:t>
            </a:r>
          </a:p>
        </p:txBody>
      </p:sp>
      <p:grpSp>
        <p:nvGrpSpPr>
          <p:cNvPr id="14" name="组合 13"/>
          <p:cNvGrpSpPr/>
          <p:nvPr/>
        </p:nvGrpSpPr>
        <p:grpSpPr>
          <a:xfrm>
            <a:off x="179512" y="3973423"/>
            <a:ext cx="1080120" cy="1080120"/>
            <a:chOff x="179512" y="3973423"/>
            <a:chExt cx="1080120" cy="1080120"/>
          </a:xfrm>
        </p:grpSpPr>
        <p:sp>
          <p:nvSpPr>
            <p:cNvPr id="5" name="TextBox 4"/>
            <p:cNvSpPr txBox="1"/>
            <p:nvPr/>
          </p:nvSpPr>
          <p:spPr>
            <a:xfrm>
              <a:off x="201284" y="4083918"/>
              <a:ext cx="1008112" cy="830997"/>
            </a:xfrm>
            <a:prstGeom prst="rect">
              <a:avLst/>
            </a:prstGeom>
            <a:noFill/>
          </p:spPr>
          <p:txBody>
            <a:bodyPr wrap="square" rtlCol="0">
              <a:spAutoFit/>
            </a:bodyPr>
            <a:lstStyle/>
            <a:p>
              <a:pPr algn="ctr"/>
              <a:r>
                <a:rPr lang="zh-CN" altLang="en-US" sz="2400" b="1" dirty="0">
                  <a:solidFill>
                    <a:schemeClr val="bg1"/>
                  </a:solidFill>
                </a:rPr>
                <a:t>案例讨论</a:t>
              </a:r>
            </a:p>
          </p:txBody>
        </p:sp>
        <p:sp>
          <p:nvSpPr>
            <p:cNvPr id="12" name="矩形 11"/>
            <p:cNvSpPr/>
            <p:nvPr/>
          </p:nvSpPr>
          <p:spPr>
            <a:xfrm>
              <a:off x="179512" y="3973423"/>
              <a:ext cx="1080120" cy="1080120"/>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ransition spd="slow" advTm="3028">
    <p:cover dir="l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3"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strips(upRight)">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018db4975c3937bde6e5bc3ae5f74ba8e231bd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0EoqWKAUiRp6bwLw4mW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U5hr3Ip00.fAzN5jTTh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lQHV04eYUWkkGoaBq9l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LabUtT20Sy8MitHJcPb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gxB5GzJDk6_cIrl8hTq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lR_RjMrUqDgo9cq777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QxP19Tlx0q.RzOS9NSJP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N3Jeptlc0O9S89k6gpm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doKvR_s20S_sEfbKhL.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y2.9NDdq0awgENrsag0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mmTYgZfoEeREJ7SzWlpk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qCU6BnzzEaxHyR2P7sR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vhPMlS9IkmDLlZJ4Idk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gLyPsgjVEi2TSbCO3u1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1op3NQH50uuDgmzRYEQ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dDWp4IluEmyF2WAC0hUH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zXdAeC0e0yZM9FqXyqi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oOPfAs1fkegZ1XWEMJB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BK2Bpy5HEOLkOGrK63h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Tuh1Ov1JkGoiFAKm3dl6Q"/>
</p:tagLst>
</file>

<file path=ppt/theme/theme1.xml><?xml version="1.0" encoding="utf-8"?>
<a:theme xmlns:a="http://schemas.openxmlformats.org/drawingml/2006/main" name=" www.2ppt.com">
  <a:themeElements>
    <a:clrScheme name="自定义 2">
      <a:dk1>
        <a:sysClr val="windowText" lastClr="000000"/>
      </a:dk1>
      <a:lt1>
        <a:sysClr val="window" lastClr="FFFFFF"/>
      </a:lt1>
      <a:dk2>
        <a:srgbClr val="1F497D"/>
      </a:dk2>
      <a:lt2>
        <a:srgbClr val="EEECE1"/>
      </a:lt2>
      <a:accent1>
        <a:srgbClr val="C00000"/>
      </a:accent1>
      <a:accent2>
        <a:srgbClr val="FFC000"/>
      </a:accent2>
      <a:accent3>
        <a:srgbClr val="9BBB59"/>
      </a:accent3>
      <a:accent4>
        <a:srgbClr val="8064A2"/>
      </a:accent4>
      <a:accent5>
        <a:srgbClr val="4BACC6"/>
      </a:accent5>
      <a:accent6>
        <a:srgbClr val="F79646"/>
      </a:accent6>
      <a:hlink>
        <a:srgbClr val="0000FF"/>
      </a:hlink>
      <a:folHlink>
        <a:srgbClr val="800080"/>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03</Words>
  <Application>Microsoft Office PowerPoint</Application>
  <PresentationFormat>全屏显示(16:9)</PresentationFormat>
  <Paragraphs>386</Paragraphs>
  <Slides>31</Slides>
  <Notes>30</Notes>
  <HiddenSlides>0</HiddenSlides>
  <MMClips>0</MMClips>
  <ScaleCrop>false</ScaleCrop>
  <HeadingPairs>
    <vt:vector size="6" baseType="variant">
      <vt:variant>
        <vt:lpstr>已用的字体</vt:lpstr>
      </vt:variant>
      <vt:variant>
        <vt:i4>11</vt:i4>
      </vt:variant>
      <vt:variant>
        <vt:lpstr>主题</vt:lpstr>
      </vt:variant>
      <vt:variant>
        <vt:i4>1</vt:i4>
      </vt:variant>
      <vt:variant>
        <vt:lpstr>幻灯片标题</vt:lpstr>
      </vt:variant>
      <vt:variant>
        <vt:i4>31</vt:i4>
      </vt:variant>
    </vt:vector>
  </HeadingPairs>
  <TitlesOfParts>
    <vt:vector size="43" baseType="lpstr">
      <vt:lpstr>Segoe</vt:lpstr>
      <vt:lpstr>Stencil Std</vt:lpstr>
      <vt:lpstr>宋体</vt:lpstr>
      <vt:lpstr>微软雅黑</vt:lpstr>
      <vt:lpstr>Arial</vt:lpstr>
      <vt:lpstr>Broadway</vt:lpstr>
      <vt:lpstr>Calibri</vt:lpstr>
      <vt:lpstr>Impact</vt:lpstr>
      <vt:lpstr>Segoe UI</vt:lpstr>
      <vt:lpstr>Times New Roman</vt:lpstr>
      <vt:lpstr>Wingdings</vt:lpstr>
      <vt:lpstr> www.2ppt.com</vt:lpstr>
      <vt:lpstr>PowerPoint 演示文稿</vt:lpstr>
      <vt:lpstr>目录页</vt:lpstr>
      <vt:lpstr>关于我们</vt:lpstr>
      <vt:lpstr>企业领导</vt:lpstr>
      <vt:lpstr>发展历史</vt:lpstr>
      <vt:lpstr>大事记</vt:lpstr>
      <vt:lpstr>年度工作计划</vt:lpstr>
      <vt:lpstr>执行过程</vt:lpstr>
      <vt:lpstr>PowerPoint 演示文稿</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单击添加标题</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www.ppt818.com</dc:creator>
  <dc:description>www.ppt818.com-提供资源下载</dc:description>
  <cp:lastModifiedBy>Windows 用户</cp:lastModifiedBy>
  <cp:revision>2</cp:revision>
  <dcterms:created xsi:type="dcterms:W3CDTF">2022-03-16T03:12:17Z</dcterms:created>
  <dcterms:modified xsi:type="dcterms:W3CDTF">2023-01-10T06:4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64E63EB0A6384479828E5FB6FA5807C8</vt:lpwstr>
  </property>
  <property fmtid="{D5CDD505-2E9C-101B-9397-08002B2CF9AE}" pid="3" name="KSOProductBuildVer">
    <vt:lpwstr>2052-11.1.0.11365</vt:lpwstr>
  </property>
  <property fmtid="{A09F084E-AD41-489F-8076-AA5BE3082BCA}" pid="100">
    <vt:ui4>5</vt:ui4>
  </property>
  <property fmtid="{64440492-4C8B-11D1-8B70-080036B11A03}" pid="11">
    <vt:lpwstr>www.2ppt.com-爱PPT提供资源下载</vt:lpwstr>
  </property>
</Properties>
</file>